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png&amp;ehk=HXpBC3REkUhNIR26OhQgtg&amp;r=0&amp;pid=OfficeInsert" ContentType="image/png"/>
  <Default Extension="vml" ContentType="application/vnd.openxmlformats-officedocument.vmlDrawing"/>
  <Default Extension="png&amp;ehk=KyDtu0d9BvhxOf3xWqqKnw&amp;r=0&amp;pid=OfficeInsert" ContentType="image/png"/>
  <Default Extension="png&amp;ehk=uXHfgyskKoLzNTMa1IMNsQ&amp;r=0&amp;pid=OfficeInsert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</p:sldMasterIdLst>
  <p:notesMasterIdLst>
    <p:notesMasterId r:id="rId10"/>
  </p:notesMasterIdLst>
  <p:sldIdLst>
    <p:sldId id="266" r:id="rId2"/>
    <p:sldId id="267" r:id="rId3"/>
    <p:sldId id="268" r:id="rId4"/>
    <p:sldId id="269" r:id="rId5"/>
    <p:sldId id="270" r:id="rId6"/>
    <p:sldId id="271" r:id="rId7"/>
    <p:sldId id="272" r:id="rId8"/>
    <p:sldId id="273" r:id="rId9"/>
  </p:sldIdLst>
  <p:sldSz cx="12192000" cy="6858000"/>
  <p:notesSz cx="6858000" cy="9144000"/>
  <p:defaultTextStyle>
    <a:defPPr>
      <a:defRPr lang="en-US"/>
    </a:defPPr>
    <a:lvl1pPr marL="0" algn="l" defTabSz="914331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1pPr>
    <a:lvl2pPr marL="457165" algn="l" defTabSz="914331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2pPr>
    <a:lvl3pPr marL="914331" algn="l" defTabSz="914331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3pPr>
    <a:lvl4pPr marL="1371495" algn="l" defTabSz="914331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4pPr>
    <a:lvl5pPr marL="1828660" algn="l" defTabSz="914331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5pPr>
    <a:lvl6pPr marL="2285826" algn="l" defTabSz="914331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6pPr>
    <a:lvl7pPr marL="2742990" algn="l" defTabSz="914331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7pPr>
    <a:lvl8pPr marL="3200156" algn="l" defTabSz="914331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8pPr>
    <a:lvl9pPr marL="3657321" algn="l" defTabSz="914331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3ACB9"/>
    <a:srgbClr val="6DF6D3"/>
    <a:srgbClr val="58C7A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86878"/>
  </p:normalViewPr>
  <p:slideViewPr>
    <p:cSldViewPr snapToGrid="0" snapToObjects="1">
      <p:cViewPr varScale="1">
        <p:scale>
          <a:sx n="103" d="100"/>
          <a:sy n="103" d="100"/>
        </p:scale>
        <p:origin x="138" y="3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&amp;ehk=uXHfgyskKoLzNTMa1IMNsQ&amp;r=0&amp;pid=OfficeInsert"/><Relationship Id="rId2" Type="http://schemas.openxmlformats.org/officeDocument/2006/relationships/hyperlink" Target="http://2015.igem.org/Team:Stony_Brook/Modeling" TargetMode="External"/><Relationship Id="rId1" Type="http://schemas.openxmlformats.org/officeDocument/2006/relationships/image" Target="../media/image3.png&amp;ehk=KyDtu0d9BvhxOf3xWqqKnw&amp;r=0&amp;pid=OfficeInsert"/><Relationship Id="rId6" Type="http://schemas.openxmlformats.org/officeDocument/2006/relationships/hyperlink" Target="https://sarapis.org/category/emergency-management" TargetMode="External"/><Relationship Id="rId5" Type="http://schemas.openxmlformats.org/officeDocument/2006/relationships/image" Target="../media/image5.png&amp;ehk=HXpBC3REkUhNIR26OhQgtg&amp;r=0&amp;pid=OfficeInsert"/><Relationship Id="rId4" Type="http://schemas.openxmlformats.org/officeDocument/2006/relationships/hyperlink" Target="https://en.wikipedia.org/wiki/File:Fisher_iris_versicolor_sepalwidth.svg" TargetMode="External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&amp;ehk=uXHfgyskKoLzNTMa1IMNsQ&amp;r=0&amp;pid=OfficeInsert"/><Relationship Id="rId2" Type="http://schemas.openxmlformats.org/officeDocument/2006/relationships/hyperlink" Target="http://2015.igem.org/Team:Stony_Brook/Modeling" TargetMode="External"/><Relationship Id="rId1" Type="http://schemas.openxmlformats.org/officeDocument/2006/relationships/image" Target="../media/image3.png&amp;ehk=KyDtu0d9BvhxOf3xWqqKnw&amp;r=0&amp;pid=OfficeInsert"/><Relationship Id="rId6" Type="http://schemas.openxmlformats.org/officeDocument/2006/relationships/hyperlink" Target="https://sarapis.org/category/emergency-management" TargetMode="External"/><Relationship Id="rId5" Type="http://schemas.openxmlformats.org/officeDocument/2006/relationships/image" Target="../media/image5.png&amp;ehk=HXpBC3REkUhNIR26OhQgtg&amp;r=0&amp;pid=OfficeInsert"/><Relationship Id="rId4" Type="http://schemas.openxmlformats.org/officeDocument/2006/relationships/hyperlink" Target="https://en.wikipedia.org/wiki/File:Fisher_iris_versicolor_sepalwidth.svg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9953FBC-0B7D-4750-8205-BAF186E7DC8A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ZA"/>
        </a:p>
      </dgm:t>
    </dgm:pt>
    <dgm:pt modelId="{5725407C-A683-4197-AFFD-6CA955EE6FBD}">
      <dgm:prSet/>
      <dgm:spPr/>
      <dgm:t>
        <a:bodyPr/>
        <a:lstStyle/>
        <a:p>
          <a:r>
            <a:rPr lang="en-ZA"/>
            <a:t>Objectives</a:t>
          </a:r>
        </a:p>
      </dgm:t>
    </dgm:pt>
    <dgm:pt modelId="{651B7DD5-E522-4B76-8594-7EBDB7131833}" type="parTrans" cxnId="{61325FA9-81DD-480C-B66B-05C0D47EE4C4}">
      <dgm:prSet/>
      <dgm:spPr/>
      <dgm:t>
        <a:bodyPr/>
        <a:lstStyle/>
        <a:p>
          <a:endParaRPr lang="en-ZA"/>
        </a:p>
      </dgm:t>
    </dgm:pt>
    <dgm:pt modelId="{6B647DA4-0534-418C-9395-316688B1CCD1}" type="sibTrans" cxnId="{61325FA9-81DD-480C-B66B-05C0D47EE4C4}">
      <dgm:prSet/>
      <dgm:spPr/>
      <dgm:t>
        <a:bodyPr/>
        <a:lstStyle/>
        <a:p>
          <a:endParaRPr lang="en-ZA"/>
        </a:p>
      </dgm:t>
    </dgm:pt>
    <dgm:pt modelId="{6EB4676C-9119-401C-AACD-C6F35063CEED}">
      <dgm:prSet/>
      <dgm:spPr/>
      <dgm:t>
        <a:bodyPr/>
        <a:lstStyle/>
        <a:p>
          <a:r>
            <a:rPr lang="en-ZA"/>
            <a:t>Data source</a:t>
          </a:r>
        </a:p>
      </dgm:t>
    </dgm:pt>
    <dgm:pt modelId="{AEE2496F-39EA-4609-B950-34EFD889AE21}" type="parTrans" cxnId="{EF6FEDAB-7A4A-4E0B-90E3-D9F56FB9F66A}">
      <dgm:prSet/>
      <dgm:spPr/>
      <dgm:t>
        <a:bodyPr/>
        <a:lstStyle/>
        <a:p>
          <a:endParaRPr lang="en-ZA"/>
        </a:p>
      </dgm:t>
    </dgm:pt>
    <dgm:pt modelId="{9EC65370-763A-4DCF-A8C3-DB7F7C5856B1}" type="sibTrans" cxnId="{EF6FEDAB-7A4A-4E0B-90E3-D9F56FB9F66A}">
      <dgm:prSet/>
      <dgm:spPr/>
      <dgm:t>
        <a:bodyPr/>
        <a:lstStyle/>
        <a:p>
          <a:endParaRPr lang="en-ZA"/>
        </a:p>
      </dgm:t>
    </dgm:pt>
    <dgm:pt modelId="{0C22822E-A389-44C0-BF60-774946FB8AF0}">
      <dgm:prSet/>
      <dgm:spPr/>
      <dgm:t>
        <a:bodyPr/>
        <a:lstStyle/>
        <a:p>
          <a:r>
            <a:rPr lang="en-ZA"/>
            <a:t>Methodology</a:t>
          </a:r>
        </a:p>
      </dgm:t>
    </dgm:pt>
    <dgm:pt modelId="{31E57032-1019-46C9-A372-D9A59F3B5769}" type="parTrans" cxnId="{CD6E7FA8-2E58-40B9-B561-55D630E5D8D5}">
      <dgm:prSet/>
      <dgm:spPr/>
      <dgm:t>
        <a:bodyPr/>
        <a:lstStyle/>
        <a:p>
          <a:endParaRPr lang="en-ZA"/>
        </a:p>
      </dgm:t>
    </dgm:pt>
    <dgm:pt modelId="{BD04AE93-3032-4EB9-9450-D9D3552B3072}" type="sibTrans" cxnId="{CD6E7FA8-2E58-40B9-B561-55D630E5D8D5}">
      <dgm:prSet/>
      <dgm:spPr/>
      <dgm:t>
        <a:bodyPr/>
        <a:lstStyle/>
        <a:p>
          <a:endParaRPr lang="en-ZA"/>
        </a:p>
      </dgm:t>
    </dgm:pt>
    <dgm:pt modelId="{C1548A01-3D8C-44BF-AC85-842BF368A163}">
      <dgm:prSet/>
      <dgm:spPr/>
      <dgm:t>
        <a:bodyPr/>
        <a:lstStyle/>
        <a:p>
          <a:r>
            <a:rPr lang="en-ZA"/>
            <a:t>Results</a:t>
          </a:r>
        </a:p>
      </dgm:t>
    </dgm:pt>
    <dgm:pt modelId="{66071720-63E8-42AF-82EC-B3DAE9C0466C}" type="parTrans" cxnId="{0B0889D5-700F-44D7-B951-1191C5B944F3}">
      <dgm:prSet/>
      <dgm:spPr/>
      <dgm:t>
        <a:bodyPr/>
        <a:lstStyle/>
        <a:p>
          <a:endParaRPr lang="en-ZA"/>
        </a:p>
      </dgm:t>
    </dgm:pt>
    <dgm:pt modelId="{74E1D739-5E0A-4E67-84D8-B9B9BDE198A9}" type="sibTrans" cxnId="{0B0889D5-700F-44D7-B951-1191C5B944F3}">
      <dgm:prSet/>
      <dgm:spPr/>
      <dgm:t>
        <a:bodyPr/>
        <a:lstStyle/>
        <a:p>
          <a:endParaRPr lang="en-ZA"/>
        </a:p>
      </dgm:t>
    </dgm:pt>
    <dgm:pt modelId="{ADB83B8B-6FD0-47AB-BCD3-681FC94BBC08}">
      <dgm:prSet/>
      <dgm:spPr/>
      <dgm:t>
        <a:bodyPr/>
        <a:lstStyle/>
        <a:p>
          <a:r>
            <a:rPr lang="en-ZA"/>
            <a:t>Summary</a:t>
          </a:r>
        </a:p>
      </dgm:t>
    </dgm:pt>
    <dgm:pt modelId="{E36E4F86-8DD8-4437-96FB-2B44433C8F08}" type="parTrans" cxnId="{6C0E45E9-90D4-46AB-9533-1090D480212C}">
      <dgm:prSet/>
      <dgm:spPr/>
      <dgm:t>
        <a:bodyPr/>
        <a:lstStyle/>
        <a:p>
          <a:endParaRPr lang="en-ZA"/>
        </a:p>
      </dgm:t>
    </dgm:pt>
    <dgm:pt modelId="{93AF1063-FE73-41BD-BD71-29FAF45DB1F0}" type="sibTrans" cxnId="{6C0E45E9-90D4-46AB-9533-1090D480212C}">
      <dgm:prSet/>
      <dgm:spPr/>
      <dgm:t>
        <a:bodyPr/>
        <a:lstStyle/>
        <a:p>
          <a:endParaRPr lang="en-ZA"/>
        </a:p>
      </dgm:t>
    </dgm:pt>
    <dgm:pt modelId="{9F818EAB-F48C-447E-8091-4DDC9DA92818}" type="pres">
      <dgm:prSet presAssocID="{09953FBC-0B7D-4750-8205-BAF186E7DC8A}" presName="linear" presStyleCnt="0">
        <dgm:presLayoutVars>
          <dgm:animLvl val="lvl"/>
          <dgm:resizeHandles val="exact"/>
        </dgm:presLayoutVars>
      </dgm:prSet>
      <dgm:spPr/>
    </dgm:pt>
    <dgm:pt modelId="{868A9181-2E15-4A61-A064-E17022CBED0A}" type="pres">
      <dgm:prSet presAssocID="{5725407C-A683-4197-AFFD-6CA955EE6FBD}" presName="parentText" presStyleLbl="node1" presStyleIdx="0" presStyleCnt="5">
        <dgm:presLayoutVars>
          <dgm:chMax val="0"/>
          <dgm:bulletEnabled val="1"/>
        </dgm:presLayoutVars>
      </dgm:prSet>
      <dgm:spPr/>
    </dgm:pt>
    <dgm:pt modelId="{8FEF85B5-F0B7-449A-A4F8-B3A7359E1A6E}" type="pres">
      <dgm:prSet presAssocID="{6B647DA4-0534-418C-9395-316688B1CCD1}" presName="spacer" presStyleCnt="0"/>
      <dgm:spPr/>
    </dgm:pt>
    <dgm:pt modelId="{7FCC586D-59BF-4A95-AC7A-D2E32F910C66}" type="pres">
      <dgm:prSet presAssocID="{6EB4676C-9119-401C-AACD-C6F35063CEED}" presName="parentText" presStyleLbl="node1" presStyleIdx="1" presStyleCnt="5">
        <dgm:presLayoutVars>
          <dgm:chMax val="0"/>
          <dgm:bulletEnabled val="1"/>
        </dgm:presLayoutVars>
      </dgm:prSet>
      <dgm:spPr/>
    </dgm:pt>
    <dgm:pt modelId="{21056B79-1BC2-4E86-9C36-A3CFAFF34CCC}" type="pres">
      <dgm:prSet presAssocID="{9EC65370-763A-4DCF-A8C3-DB7F7C5856B1}" presName="spacer" presStyleCnt="0"/>
      <dgm:spPr/>
    </dgm:pt>
    <dgm:pt modelId="{0E5B472F-74E8-4245-A014-DA195F94D54D}" type="pres">
      <dgm:prSet presAssocID="{0C22822E-A389-44C0-BF60-774946FB8AF0}" presName="parentText" presStyleLbl="node1" presStyleIdx="2" presStyleCnt="5">
        <dgm:presLayoutVars>
          <dgm:chMax val="0"/>
          <dgm:bulletEnabled val="1"/>
        </dgm:presLayoutVars>
      </dgm:prSet>
      <dgm:spPr/>
    </dgm:pt>
    <dgm:pt modelId="{9BCA53BE-B33A-48EE-83E4-F252CDC7A712}" type="pres">
      <dgm:prSet presAssocID="{BD04AE93-3032-4EB9-9450-D9D3552B3072}" presName="spacer" presStyleCnt="0"/>
      <dgm:spPr/>
    </dgm:pt>
    <dgm:pt modelId="{A4F17D58-7D9B-4688-9E82-932527F3CFF1}" type="pres">
      <dgm:prSet presAssocID="{C1548A01-3D8C-44BF-AC85-842BF368A163}" presName="parentText" presStyleLbl="node1" presStyleIdx="3" presStyleCnt="5">
        <dgm:presLayoutVars>
          <dgm:chMax val="0"/>
          <dgm:bulletEnabled val="1"/>
        </dgm:presLayoutVars>
      </dgm:prSet>
      <dgm:spPr/>
    </dgm:pt>
    <dgm:pt modelId="{82F3C97B-1610-48FA-8F63-37E5F806EBA2}" type="pres">
      <dgm:prSet presAssocID="{74E1D739-5E0A-4E67-84D8-B9B9BDE198A9}" presName="spacer" presStyleCnt="0"/>
      <dgm:spPr/>
    </dgm:pt>
    <dgm:pt modelId="{6A727186-E822-4E7C-88D8-02FE9CC0143E}" type="pres">
      <dgm:prSet presAssocID="{ADB83B8B-6FD0-47AB-BCD3-681FC94BBC08}" presName="parentText" presStyleLbl="node1" presStyleIdx="4" presStyleCnt="5">
        <dgm:presLayoutVars>
          <dgm:chMax val="0"/>
          <dgm:bulletEnabled val="1"/>
        </dgm:presLayoutVars>
      </dgm:prSet>
      <dgm:spPr/>
    </dgm:pt>
  </dgm:ptLst>
  <dgm:cxnLst>
    <dgm:cxn modelId="{82AA1E18-1EDF-4723-92C1-D428D9652297}" type="presOf" srcId="{C1548A01-3D8C-44BF-AC85-842BF368A163}" destId="{A4F17D58-7D9B-4688-9E82-932527F3CFF1}" srcOrd="0" destOrd="0" presId="urn:microsoft.com/office/officeart/2005/8/layout/vList2"/>
    <dgm:cxn modelId="{BEE9AC84-ACBA-4624-AC60-A5C7700525D5}" type="presOf" srcId="{ADB83B8B-6FD0-47AB-BCD3-681FC94BBC08}" destId="{6A727186-E822-4E7C-88D8-02FE9CC0143E}" srcOrd="0" destOrd="0" presId="urn:microsoft.com/office/officeart/2005/8/layout/vList2"/>
    <dgm:cxn modelId="{259BDE9D-27A4-4685-96A3-A7B4BBF04171}" type="presOf" srcId="{5725407C-A683-4197-AFFD-6CA955EE6FBD}" destId="{868A9181-2E15-4A61-A064-E17022CBED0A}" srcOrd="0" destOrd="0" presId="urn:microsoft.com/office/officeart/2005/8/layout/vList2"/>
    <dgm:cxn modelId="{BB23E2A5-5815-4155-A424-47DF0C64452D}" type="presOf" srcId="{0C22822E-A389-44C0-BF60-774946FB8AF0}" destId="{0E5B472F-74E8-4245-A014-DA195F94D54D}" srcOrd="0" destOrd="0" presId="urn:microsoft.com/office/officeart/2005/8/layout/vList2"/>
    <dgm:cxn modelId="{CD6E7FA8-2E58-40B9-B561-55D630E5D8D5}" srcId="{09953FBC-0B7D-4750-8205-BAF186E7DC8A}" destId="{0C22822E-A389-44C0-BF60-774946FB8AF0}" srcOrd="2" destOrd="0" parTransId="{31E57032-1019-46C9-A372-D9A59F3B5769}" sibTransId="{BD04AE93-3032-4EB9-9450-D9D3552B3072}"/>
    <dgm:cxn modelId="{61325FA9-81DD-480C-B66B-05C0D47EE4C4}" srcId="{09953FBC-0B7D-4750-8205-BAF186E7DC8A}" destId="{5725407C-A683-4197-AFFD-6CA955EE6FBD}" srcOrd="0" destOrd="0" parTransId="{651B7DD5-E522-4B76-8594-7EBDB7131833}" sibTransId="{6B647DA4-0534-418C-9395-316688B1CCD1}"/>
    <dgm:cxn modelId="{EF6FEDAB-7A4A-4E0B-90E3-D9F56FB9F66A}" srcId="{09953FBC-0B7D-4750-8205-BAF186E7DC8A}" destId="{6EB4676C-9119-401C-AACD-C6F35063CEED}" srcOrd="1" destOrd="0" parTransId="{AEE2496F-39EA-4609-B950-34EFD889AE21}" sibTransId="{9EC65370-763A-4DCF-A8C3-DB7F7C5856B1}"/>
    <dgm:cxn modelId="{0B0889D5-700F-44D7-B951-1191C5B944F3}" srcId="{09953FBC-0B7D-4750-8205-BAF186E7DC8A}" destId="{C1548A01-3D8C-44BF-AC85-842BF368A163}" srcOrd="3" destOrd="0" parTransId="{66071720-63E8-42AF-82EC-B3DAE9C0466C}" sibTransId="{74E1D739-5E0A-4E67-84D8-B9B9BDE198A9}"/>
    <dgm:cxn modelId="{287B4AE0-43AB-45DE-B4E6-F9221173B70C}" type="presOf" srcId="{09953FBC-0B7D-4750-8205-BAF186E7DC8A}" destId="{9F818EAB-F48C-447E-8091-4DDC9DA92818}" srcOrd="0" destOrd="0" presId="urn:microsoft.com/office/officeart/2005/8/layout/vList2"/>
    <dgm:cxn modelId="{6C0E45E9-90D4-46AB-9533-1090D480212C}" srcId="{09953FBC-0B7D-4750-8205-BAF186E7DC8A}" destId="{ADB83B8B-6FD0-47AB-BCD3-681FC94BBC08}" srcOrd="4" destOrd="0" parTransId="{E36E4F86-8DD8-4437-96FB-2B44433C8F08}" sibTransId="{93AF1063-FE73-41BD-BD71-29FAF45DB1F0}"/>
    <dgm:cxn modelId="{637D0CEA-93CE-43B4-BB83-AF8BC0BD71A1}" type="presOf" srcId="{6EB4676C-9119-401C-AACD-C6F35063CEED}" destId="{7FCC586D-59BF-4A95-AC7A-D2E32F910C66}" srcOrd="0" destOrd="0" presId="urn:microsoft.com/office/officeart/2005/8/layout/vList2"/>
    <dgm:cxn modelId="{A8A1A2AC-2AD4-4418-B8F4-56E2E69F07D6}" type="presParOf" srcId="{9F818EAB-F48C-447E-8091-4DDC9DA92818}" destId="{868A9181-2E15-4A61-A064-E17022CBED0A}" srcOrd="0" destOrd="0" presId="urn:microsoft.com/office/officeart/2005/8/layout/vList2"/>
    <dgm:cxn modelId="{109C574B-6BE1-442A-BEBB-80AA32FD7828}" type="presParOf" srcId="{9F818EAB-F48C-447E-8091-4DDC9DA92818}" destId="{8FEF85B5-F0B7-449A-A4F8-B3A7359E1A6E}" srcOrd="1" destOrd="0" presId="urn:microsoft.com/office/officeart/2005/8/layout/vList2"/>
    <dgm:cxn modelId="{AFBD49CB-E7D7-4468-8FCC-3683749ACBB6}" type="presParOf" srcId="{9F818EAB-F48C-447E-8091-4DDC9DA92818}" destId="{7FCC586D-59BF-4A95-AC7A-D2E32F910C66}" srcOrd="2" destOrd="0" presId="urn:microsoft.com/office/officeart/2005/8/layout/vList2"/>
    <dgm:cxn modelId="{90564537-302A-4AC6-A7B6-DA51C5B0A71E}" type="presParOf" srcId="{9F818EAB-F48C-447E-8091-4DDC9DA92818}" destId="{21056B79-1BC2-4E86-9C36-A3CFAFF34CCC}" srcOrd="3" destOrd="0" presId="urn:microsoft.com/office/officeart/2005/8/layout/vList2"/>
    <dgm:cxn modelId="{00C22925-9396-4325-9B0F-5C3F21738E35}" type="presParOf" srcId="{9F818EAB-F48C-447E-8091-4DDC9DA92818}" destId="{0E5B472F-74E8-4245-A014-DA195F94D54D}" srcOrd="4" destOrd="0" presId="urn:microsoft.com/office/officeart/2005/8/layout/vList2"/>
    <dgm:cxn modelId="{9B95B00D-A58B-487B-B232-C8DBCD40189B}" type="presParOf" srcId="{9F818EAB-F48C-447E-8091-4DDC9DA92818}" destId="{9BCA53BE-B33A-48EE-83E4-F252CDC7A712}" srcOrd="5" destOrd="0" presId="urn:microsoft.com/office/officeart/2005/8/layout/vList2"/>
    <dgm:cxn modelId="{5A4C93CD-1063-4EB6-9BA7-C7726C3DC532}" type="presParOf" srcId="{9F818EAB-F48C-447E-8091-4DDC9DA92818}" destId="{A4F17D58-7D9B-4688-9E82-932527F3CFF1}" srcOrd="6" destOrd="0" presId="urn:microsoft.com/office/officeart/2005/8/layout/vList2"/>
    <dgm:cxn modelId="{9584A8F5-E6C0-40F8-B848-C59AA93ABC73}" type="presParOf" srcId="{9F818EAB-F48C-447E-8091-4DDC9DA92818}" destId="{82F3C97B-1610-48FA-8F63-37E5F806EBA2}" srcOrd="7" destOrd="0" presId="urn:microsoft.com/office/officeart/2005/8/layout/vList2"/>
    <dgm:cxn modelId="{A9643E2F-1E28-427D-A0E0-08998EF128E1}" type="presParOf" srcId="{9F818EAB-F48C-447E-8091-4DDC9DA92818}" destId="{6A727186-E822-4E7C-88D8-02FE9CC0143E}" srcOrd="8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705F983-AA2D-42D8-A240-6E237D8E9345}" type="doc">
      <dgm:prSet loTypeId="urn:microsoft.com/office/officeart/2005/8/layout/vList3" loCatId="list" qsTypeId="urn:microsoft.com/office/officeart/2005/8/quickstyle/simple1" qsCatId="simple" csTypeId="urn:microsoft.com/office/officeart/2005/8/colors/accent1_2" csCatId="accent1" phldr="1"/>
      <dgm:spPr/>
    </dgm:pt>
    <dgm:pt modelId="{7E9D3F21-7C0D-4429-8E7B-480EFF61A370}">
      <dgm:prSet phldrT="[Text]"/>
      <dgm:spPr/>
      <dgm:t>
        <a:bodyPr/>
        <a:lstStyle/>
        <a:p>
          <a:r>
            <a:rPr lang="en-ZA" dirty="0"/>
            <a:t>Determine factors that contribute towards churn</a:t>
          </a:r>
        </a:p>
      </dgm:t>
    </dgm:pt>
    <dgm:pt modelId="{5CAB5687-DC98-4341-AE11-59E08950AE93}" type="parTrans" cxnId="{B712D40A-EE18-4734-8CC8-72552AC02805}">
      <dgm:prSet/>
      <dgm:spPr/>
      <dgm:t>
        <a:bodyPr/>
        <a:lstStyle/>
        <a:p>
          <a:endParaRPr lang="en-ZA"/>
        </a:p>
      </dgm:t>
    </dgm:pt>
    <dgm:pt modelId="{2DBB0C48-834E-45C6-B88C-FB332E514F24}" type="sibTrans" cxnId="{B712D40A-EE18-4734-8CC8-72552AC02805}">
      <dgm:prSet/>
      <dgm:spPr/>
      <dgm:t>
        <a:bodyPr/>
        <a:lstStyle/>
        <a:p>
          <a:endParaRPr lang="en-ZA"/>
        </a:p>
      </dgm:t>
    </dgm:pt>
    <dgm:pt modelId="{191CC03C-CA1E-4483-ADF4-970A89E2A428}">
      <dgm:prSet phldrT="[Text]"/>
      <dgm:spPr/>
      <dgm:t>
        <a:bodyPr/>
        <a:lstStyle/>
        <a:p>
          <a:r>
            <a:rPr lang="en-ZA" dirty="0"/>
            <a:t>Predict churn probability</a:t>
          </a:r>
        </a:p>
      </dgm:t>
    </dgm:pt>
    <dgm:pt modelId="{974EB956-3265-4DA7-996E-9AAEA539F17B}" type="parTrans" cxnId="{C21A6311-AB9C-434D-A475-7E3A962C629C}">
      <dgm:prSet/>
      <dgm:spPr/>
      <dgm:t>
        <a:bodyPr/>
        <a:lstStyle/>
        <a:p>
          <a:endParaRPr lang="en-ZA"/>
        </a:p>
      </dgm:t>
    </dgm:pt>
    <dgm:pt modelId="{082EDFB0-3953-4C2F-98DF-B4E80C80F60E}" type="sibTrans" cxnId="{C21A6311-AB9C-434D-A475-7E3A962C629C}">
      <dgm:prSet/>
      <dgm:spPr/>
      <dgm:t>
        <a:bodyPr/>
        <a:lstStyle/>
        <a:p>
          <a:endParaRPr lang="en-ZA"/>
        </a:p>
      </dgm:t>
    </dgm:pt>
    <dgm:pt modelId="{FB73EEB6-7D5C-49F6-9986-E22370A07BB5}">
      <dgm:prSet phldrT="[Text]"/>
      <dgm:spPr/>
      <dgm:t>
        <a:bodyPr/>
        <a:lstStyle/>
        <a:p>
          <a:r>
            <a:rPr lang="en-ZA" dirty="0"/>
            <a:t>Identify initiatives that could reduce churn</a:t>
          </a:r>
        </a:p>
      </dgm:t>
    </dgm:pt>
    <dgm:pt modelId="{B9A65D62-C10A-4566-880A-4A403604EF75}" type="parTrans" cxnId="{D3B7C3AA-765A-4B78-8729-9AB73DA0E13D}">
      <dgm:prSet/>
      <dgm:spPr/>
      <dgm:t>
        <a:bodyPr/>
        <a:lstStyle/>
        <a:p>
          <a:endParaRPr lang="en-ZA"/>
        </a:p>
      </dgm:t>
    </dgm:pt>
    <dgm:pt modelId="{03D1E504-52B1-47E7-B7CD-F2A660A7B314}" type="sibTrans" cxnId="{D3B7C3AA-765A-4B78-8729-9AB73DA0E13D}">
      <dgm:prSet/>
      <dgm:spPr/>
      <dgm:t>
        <a:bodyPr/>
        <a:lstStyle/>
        <a:p>
          <a:endParaRPr lang="en-ZA"/>
        </a:p>
      </dgm:t>
    </dgm:pt>
    <dgm:pt modelId="{B4E0CC02-F010-4883-994E-DBCA0E99C7DA}" type="pres">
      <dgm:prSet presAssocID="{3705F983-AA2D-42D8-A240-6E237D8E9345}" presName="linearFlow" presStyleCnt="0">
        <dgm:presLayoutVars>
          <dgm:dir/>
          <dgm:resizeHandles val="exact"/>
        </dgm:presLayoutVars>
      </dgm:prSet>
      <dgm:spPr/>
    </dgm:pt>
    <dgm:pt modelId="{FF2B11D8-F879-4BEE-9DEB-F5113C2C7B2B}" type="pres">
      <dgm:prSet presAssocID="{7E9D3F21-7C0D-4429-8E7B-480EFF61A370}" presName="composite" presStyleCnt="0"/>
      <dgm:spPr/>
    </dgm:pt>
    <dgm:pt modelId="{A142F44E-FB51-49F8-8CD1-EB41D6C7A614}" type="pres">
      <dgm:prSet presAssocID="{7E9D3F21-7C0D-4429-8E7B-480EFF61A370}" presName="imgShp" presStyleLbl="fgImgPlac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2"/>
              </a:ext>
            </a:extLst>
          </a:blip>
          <a:srcRect/>
          <a:stretch>
            <a:fillRect/>
          </a:stretch>
        </a:blipFill>
      </dgm:spPr>
    </dgm:pt>
    <dgm:pt modelId="{E4818C81-82BD-4A7E-A150-6B01DE2493C5}" type="pres">
      <dgm:prSet presAssocID="{7E9D3F21-7C0D-4429-8E7B-480EFF61A370}" presName="txShp" presStyleLbl="node1" presStyleIdx="0" presStyleCnt="3">
        <dgm:presLayoutVars>
          <dgm:bulletEnabled val="1"/>
        </dgm:presLayoutVars>
      </dgm:prSet>
      <dgm:spPr/>
    </dgm:pt>
    <dgm:pt modelId="{42F937E9-9F21-4AEC-90D8-18EDC85913D6}" type="pres">
      <dgm:prSet presAssocID="{2DBB0C48-834E-45C6-B88C-FB332E514F24}" presName="spacing" presStyleCnt="0"/>
      <dgm:spPr/>
    </dgm:pt>
    <dgm:pt modelId="{43F8FFA5-F02F-4D20-9DE6-0E31C40BDD17}" type="pres">
      <dgm:prSet presAssocID="{191CC03C-CA1E-4483-ADF4-970A89E2A428}" presName="composite" presStyleCnt="0"/>
      <dgm:spPr/>
    </dgm:pt>
    <dgm:pt modelId="{7ECFA6A0-EBD0-4F2B-BA65-842BF1EB482B}" type="pres">
      <dgm:prSet presAssocID="{191CC03C-CA1E-4483-ADF4-970A89E2A428}" presName="imgShp" presStyleLbl="fgImgPlac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rcRect/>
          <a:stretch>
            <a:fillRect l="-22000" r="-22000"/>
          </a:stretch>
        </a:blipFill>
      </dgm:spPr>
    </dgm:pt>
    <dgm:pt modelId="{147049DB-A015-4BCE-8377-E830602AAB86}" type="pres">
      <dgm:prSet presAssocID="{191CC03C-CA1E-4483-ADF4-970A89E2A428}" presName="txShp" presStyleLbl="node1" presStyleIdx="1" presStyleCnt="3">
        <dgm:presLayoutVars>
          <dgm:bulletEnabled val="1"/>
        </dgm:presLayoutVars>
      </dgm:prSet>
      <dgm:spPr/>
    </dgm:pt>
    <dgm:pt modelId="{0887B437-4019-4834-9172-87D774763100}" type="pres">
      <dgm:prSet presAssocID="{082EDFB0-3953-4C2F-98DF-B4E80C80F60E}" presName="spacing" presStyleCnt="0"/>
      <dgm:spPr/>
    </dgm:pt>
    <dgm:pt modelId="{F3DA9B6D-1089-4094-8598-D8E798E84E53}" type="pres">
      <dgm:prSet presAssocID="{FB73EEB6-7D5C-49F6-9986-E22370A07BB5}" presName="composite" presStyleCnt="0"/>
      <dgm:spPr/>
    </dgm:pt>
    <dgm:pt modelId="{85611801-0FD3-4919-8F8B-88103C22D9AF}" type="pres">
      <dgm:prSet presAssocID="{FB73EEB6-7D5C-49F6-9986-E22370A07BB5}" presName="imgShp" presStyleLbl="fgImgPlac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6"/>
              </a:ext>
            </a:extLst>
          </a:blip>
          <a:srcRect/>
          <a:stretch>
            <a:fillRect l="-39000" r="-39000"/>
          </a:stretch>
        </a:blipFill>
      </dgm:spPr>
    </dgm:pt>
    <dgm:pt modelId="{BE3F0689-1487-49B0-9B93-25211426421E}" type="pres">
      <dgm:prSet presAssocID="{FB73EEB6-7D5C-49F6-9986-E22370A07BB5}" presName="txShp" presStyleLbl="node1" presStyleIdx="2" presStyleCnt="3">
        <dgm:presLayoutVars>
          <dgm:bulletEnabled val="1"/>
        </dgm:presLayoutVars>
      </dgm:prSet>
      <dgm:spPr/>
    </dgm:pt>
  </dgm:ptLst>
  <dgm:cxnLst>
    <dgm:cxn modelId="{B712D40A-EE18-4734-8CC8-72552AC02805}" srcId="{3705F983-AA2D-42D8-A240-6E237D8E9345}" destId="{7E9D3F21-7C0D-4429-8E7B-480EFF61A370}" srcOrd="0" destOrd="0" parTransId="{5CAB5687-DC98-4341-AE11-59E08950AE93}" sibTransId="{2DBB0C48-834E-45C6-B88C-FB332E514F24}"/>
    <dgm:cxn modelId="{C21A6311-AB9C-434D-A475-7E3A962C629C}" srcId="{3705F983-AA2D-42D8-A240-6E237D8E9345}" destId="{191CC03C-CA1E-4483-ADF4-970A89E2A428}" srcOrd="1" destOrd="0" parTransId="{974EB956-3265-4DA7-996E-9AAEA539F17B}" sibTransId="{082EDFB0-3953-4C2F-98DF-B4E80C80F60E}"/>
    <dgm:cxn modelId="{D16D7D5B-0B7D-42F8-A49B-972BDEF9A4A1}" type="presOf" srcId="{3705F983-AA2D-42D8-A240-6E237D8E9345}" destId="{B4E0CC02-F010-4883-994E-DBCA0E99C7DA}" srcOrd="0" destOrd="0" presId="urn:microsoft.com/office/officeart/2005/8/layout/vList3"/>
    <dgm:cxn modelId="{9D912265-588F-4AF9-B00F-0C9D1D4B59A3}" type="presOf" srcId="{FB73EEB6-7D5C-49F6-9986-E22370A07BB5}" destId="{BE3F0689-1487-49B0-9B93-25211426421E}" srcOrd="0" destOrd="0" presId="urn:microsoft.com/office/officeart/2005/8/layout/vList3"/>
    <dgm:cxn modelId="{D3B7C3AA-765A-4B78-8729-9AB73DA0E13D}" srcId="{3705F983-AA2D-42D8-A240-6E237D8E9345}" destId="{FB73EEB6-7D5C-49F6-9986-E22370A07BB5}" srcOrd="2" destOrd="0" parTransId="{B9A65D62-C10A-4566-880A-4A403604EF75}" sibTransId="{03D1E504-52B1-47E7-B7CD-F2A660A7B314}"/>
    <dgm:cxn modelId="{C01B86BA-360F-425F-88FA-49139C5C24EC}" type="presOf" srcId="{7E9D3F21-7C0D-4429-8E7B-480EFF61A370}" destId="{E4818C81-82BD-4A7E-A150-6B01DE2493C5}" srcOrd="0" destOrd="0" presId="urn:microsoft.com/office/officeart/2005/8/layout/vList3"/>
    <dgm:cxn modelId="{18DF43C6-8807-4463-9F51-5E29A2E3B52F}" type="presOf" srcId="{191CC03C-CA1E-4483-ADF4-970A89E2A428}" destId="{147049DB-A015-4BCE-8377-E830602AAB86}" srcOrd="0" destOrd="0" presId="urn:microsoft.com/office/officeart/2005/8/layout/vList3"/>
    <dgm:cxn modelId="{3C40F329-BB78-4DCB-A7EB-7629BDF97B40}" type="presParOf" srcId="{B4E0CC02-F010-4883-994E-DBCA0E99C7DA}" destId="{FF2B11D8-F879-4BEE-9DEB-F5113C2C7B2B}" srcOrd="0" destOrd="0" presId="urn:microsoft.com/office/officeart/2005/8/layout/vList3"/>
    <dgm:cxn modelId="{EC2495AD-3947-41C5-AB2D-964A38846D08}" type="presParOf" srcId="{FF2B11D8-F879-4BEE-9DEB-F5113C2C7B2B}" destId="{A142F44E-FB51-49F8-8CD1-EB41D6C7A614}" srcOrd="0" destOrd="0" presId="urn:microsoft.com/office/officeart/2005/8/layout/vList3"/>
    <dgm:cxn modelId="{1437F154-B6F2-436A-B08C-3B7CB67B56AF}" type="presParOf" srcId="{FF2B11D8-F879-4BEE-9DEB-F5113C2C7B2B}" destId="{E4818C81-82BD-4A7E-A150-6B01DE2493C5}" srcOrd="1" destOrd="0" presId="urn:microsoft.com/office/officeart/2005/8/layout/vList3"/>
    <dgm:cxn modelId="{61E29C3A-0B1F-421A-A70D-43A53D9BB61C}" type="presParOf" srcId="{B4E0CC02-F010-4883-994E-DBCA0E99C7DA}" destId="{42F937E9-9F21-4AEC-90D8-18EDC85913D6}" srcOrd="1" destOrd="0" presId="urn:microsoft.com/office/officeart/2005/8/layout/vList3"/>
    <dgm:cxn modelId="{D36F8355-9EB4-49AB-BCF7-CBE4317B7970}" type="presParOf" srcId="{B4E0CC02-F010-4883-994E-DBCA0E99C7DA}" destId="{43F8FFA5-F02F-4D20-9DE6-0E31C40BDD17}" srcOrd="2" destOrd="0" presId="urn:microsoft.com/office/officeart/2005/8/layout/vList3"/>
    <dgm:cxn modelId="{E3F477AF-EC93-4E9D-980F-46505C012A40}" type="presParOf" srcId="{43F8FFA5-F02F-4D20-9DE6-0E31C40BDD17}" destId="{7ECFA6A0-EBD0-4F2B-BA65-842BF1EB482B}" srcOrd="0" destOrd="0" presId="urn:microsoft.com/office/officeart/2005/8/layout/vList3"/>
    <dgm:cxn modelId="{D3012628-9273-4D4D-A23A-CA0478A7A8F6}" type="presParOf" srcId="{43F8FFA5-F02F-4D20-9DE6-0E31C40BDD17}" destId="{147049DB-A015-4BCE-8377-E830602AAB86}" srcOrd="1" destOrd="0" presId="urn:microsoft.com/office/officeart/2005/8/layout/vList3"/>
    <dgm:cxn modelId="{1672AF00-6DB8-4D79-8366-F9E2058DEA10}" type="presParOf" srcId="{B4E0CC02-F010-4883-994E-DBCA0E99C7DA}" destId="{0887B437-4019-4834-9172-87D774763100}" srcOrd="3" destOrd="0" presId="urn:microsoft.com/office/officeart/2005/8/layout/vList3"/>
    <dgm:cxn modelId="{F55AAF64-616F-4A73-86D7-6DB5689CDD9E}" type="presParOf" srcId="{B4E0CC02-F010-4883-994E-DBCA0E99C7DA}" destId="{F3DA9B6D-1089-4094-8598-D8E798E84E53}" srcOrd="4" destOrd="0" presId="urn:microsoft.com/office/officeart/2005/8/layout/vList3"/>
    <dgm:cxn modelId="{1A8BCA89-ADA0-4424-99D8-5D8C219643D0}" type="presParOf" srcId="{F3DA9B6D-1089-4094-8598-D8E798E84E53}" destId="{85611801-0FD3-4919-8F8B-88103C22D9AF}" srcOrd="0" destOrd="0" presId="urn:microsoft.com/office/officeart/2005/8/layout/vList3"/>
    <dgm:cxn modelId="{5A058ED5-A62A-449E-BCDE-25AFD3CDD92B}" type="presParOf" srcId="{F3DA9B6D-1089-4094-8598-D8E798E84E53}" destId="{BE3F0689-1487-49B0-9B93-25211426421E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6494277-5DEB-4F8B-A7A4-F6A4A4BF0470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ZA"/>
        </a:p>
      </dgm:t>
    </dgm:pt>
    <dgm:pt modelId="{4BD4BE95-DA04-467F-B18A-588CCD81AEFA}">
      <dgm:prSet phldrT="[Text]"/>
      <dgm:spPr/>
      <dgm:t>
        <a:bodyPr/>
        <a:lstStyle/>
        <a:p>
          <a:r>
            <a:rPr lang="en-ZA" dirty="0"/>
            <a:t>Customer records</a:t>
          </a:r>
        </a:p>
      </dgm:t>
    </dgm:pt>
    <dgm:pt modelId="{DDA4EF05-57BF-490D-BE72-4D211C156CE3}" type="parTrans" cxnId="{B47D0F8B-56BF-4470-9F55-D515577E968D}">
      <dgm:prSet/>
      <dgm:spPr/>
      <dgm:t>
        <a:bodyPr/>
        <a:lstStyle/>
        <a:p>
          <a:endParaRPr lang="en-ZA"/>
        </a:p>
      </dgm:t>
    </dgm:pt>
    <dgm:pt modelId="{34F15B44-E92B-438F-AA71-A069DD535A49}" type="sibTrans" cxnId="{B47D0F8B-56BF-4470-9F55-D515577E968D}">
      <dgm:prSet/>
      <dgm:spPr/>
      <dgm:t>
        <a:bodyPr/>
        <a:lstStyle/>
        <a:p>
          <a:endParaRPr lang="en-ZA"/>
        </a:p>
      </dgm:t>
    </dgm:pt>
    <dgm:pt modelId="{26EBCA0C-9134-40E7-91E8-23B654CEC457}">
      <dgm:prSet phldrT="[Text]"/>
      <dgm:spPr/>
      <dgm:t>
        <a:bodyPr/>
        <a:lstStyle/>
        <a:p>
          <a:r>
            <a:rPr lang="en-ZA" dirty="0"/>
            <a:t>7043 rows</a:t>
          </a:r>
        </a:p>
      </dgm:t>
    </dgm:pt>
    <dgm:pt modelId="{A0060282-1CAB-4920-B421-AE1D81629054}" type="parTrans" cxnId="{B6E706F3-4F24-4813-A919-20CB2AA54B69}">
      <dgm:prSet/>
      <dgm:spPr/>
      <dgm:t>
        <a:bodyPr/>
        <a:lstStyle/>
        <a:p>
          <a:endParaRPr lang="en-ZA"/>
        </a:p>
      </dgm:t>
    </dgm:pt>
    <dgm:pt modelId="{AE851259-3E26-43D7-891E-A8015CCF166E}" type="sibTrans" cxnId="{B6E706F3-4F24-4813-A919-20CB2AA54B69}">
      <dgm:prSet/>
      <dgm:spPr/>
      <dgm:t>
        <a:bodyPr/>
        <a:lstStyle/>
        <a:p>
          <a:endParaRPr lang="en-ZA"/>
        </a:p>
      </dgm:t>
    </dgm:pt>
    <dgm:pt modelId="{4E4F0300-A3B3-4158-88AE-BE2CB4A1410F}">
      <dgm:prSet phldrT="[Text]"/>
      <dgm:spPr/>
      <dgm:t>
        <a:bodyPr/>
        <a:lstStyle/>
        <a:p>
          <a:r>
            <a:rPr lang="en-ZA" dirty="0"/>
            <a:t>21 features</a:t>
          </a:r>
        </a:p>
      </dgm:t>
    </dgm:pt>
    <dgm:pt modelId="{ABF799C7-1239-46E4-9E73-2DD124CC2467}" type="parTrans" cxnId="{D0F72E94-AC50-4E4C-80CC-3A2CFE89CC72}">
      <dgm:prSet/>
      <dgm:spPr/>
      <dgm:t>
        <a:bodyPr/>
        <a:lstStyle/>
        <a:p>
          <a:endParaRPr lang="en-ZA"/>
        </a:p>
      </dgm:t>
    </dgm:pt>
    <dgm:pt modelId="{BE4F4DA6-FB07-4D08-953B-9932DD165302}" type="sibTrans" cxnId="{D0F72E94-AC50-4E4C-80CC-3A2CFE89CC72}">
      <dgm:prSet/>
      <dgm:spPr/>
      <dgm:t>
        <a:bodyPr/>
        <a:lstStyle/>
        <a:p>
          <a:endParaRPr lang="en-ZA"/>
        </a:p>
      </dgm:t>
    </dgm:pt>
    <dgm:pt modelId="{ED6E3E25-725B-42DD-853C-B74D4FB05648}">
      <dgm:prSet phldrT="[Text]"/>
      <dgm:spPr/>
      <dgm:t>
        <a:bodyPr/>
        <a:lstStyle/>
        <a:p>
          <a:r>
            <a:rPr lang="en-ZA" dirty="0"/>
            <a:t>Primary feature – Churn (yes/no)</a:t>
          </a:r>
        </a:p>
      </dgm:t>
    </dgm:pt>
    <dgm:pt modelId="{9F9B8D68-0CC7-4584-88CD-6E6990077673}" type="parTrans" cxnId="{CBE4E622-2543-4705-9D2A-BA77030A9E48}">
      <dgm:prSet/>
      <dgm:spPr/>
      <dgm:t>
        <a:bodyPr/>
        <a:lstStyle/>
        <a:p>
          <a:endParaRPr lang="en-ZA"/>
        </a:p>
      </dgm:t>
    </dgm:pt>
    <dgm:pt modelId="{C5E3A83C-6218-43B7-BEAD-43B3BC18BCAF}" type="sibTrans" cxnId="{CBE4E622-2543-4705-9D2A-BA77030A9E48}">
      <dgm:prSet/>
      <dgm:spPr/>
      <dgm:t>
        <a:bodyPr/>
        <a:lstStyle/>
        <a:p>
          <a:endParaRPr lang="en-ZA"/>
        </a:p>
      </dgm:t>
    </dgm:pt>
    <dgm:pt modelId="{924D0D77-0CAD-4F98-807D-068AE3169374}" type="pres">
      <dgm:prSet presAssocID="{06494277-5DEB-4F8B-A7A4-F6A4A4BF0470}" presName="linear" presStyleCnt="0">
        <dgm:presLayoutVars>
          <dgm:dir/>
          <dgm:animLvl val="lvl"/>
          <dgm:resizeHandles val="exact"/>
        </dgm:presLayoutVars>
      </dgm:prSet>
      <dgm:spPr/>
    </dgm:pt>
    <dgm:pt modelId="{F6CC3001-D74B-4705-B184-34AC7A969A2E}" type="pres">
      <dgm:prSet presAssocID="{4BD4BE95-DA04-467F-B18A-588CCD81AEFA}" presName="parentLin" presStyleCnt="0"/>
      <dgm:spPr/>
    </dgm:pt>
    <dgm:pt modelId="{509A3961-01EB-4754-BB3A-BDFE98B24B19}" type="pres">
      <dgm:prSet presAssocID="{4BD4BE95-DA04-467F-B18A-588CCD81AEFA}" presName="parentLeftMargin" presStyleLbl="node1" presStyleIdx="0" presStyleCnt="1"/>
      <dgm:spPr/>
    </dgm:pt>
    <dgm:pt modelId="{AC3ED61E-DD5A-455A-AD73-E6EC6B7C578A}" type="pres">
      <dgm:prSet presAssocID="{4BD4BE95-DA04-467F-B18A-588CCD81AEFA}" presName="parentText" presStyleLbl="node1" presStyleIdx="0" presStyleCnt="1">
        <dgm:presLayoutVars>
          <dgm:chMax val="0"/>
          <dgm:bulletEnabled val="1"/>
        </dgm:presLayoutVars>
      </dgm:prSet>
      <dgm:spPr/>
    </dgm:pt>
    <dgm:pt modelId="{19C8BB41-1852-42B6-AB55-7F5488DD674B}" type="pres">
      <dgm:prSet presAssocID="{4BD4BE95-DA04-467F-B18A-588CCD81AEFA}" presName="negativeSpace" presStyleCnt="0"/>
      <dgm:spPr/>
    </dgm:pt>
    <dgm:pt modelId="{5D48554D-D78C-4C5F-A3EF-6BCFAFB0DCB5}" type="pres">
      <dgm:prSet presAssocID="{4BD4BE95-DA04-467F-B18A-588CCD81AEFA}" presName="childText" presStyleLbl="conFgAcc1" presStyleIdx="0" presStyleCnt="1">
        <dgm:presLayoutVars>
          <dgm:bulletEnabled val="1"/>
        </dgm:presLayoutVars>
      </dgm:prSet>
      <dgm:spPr/>
    </dgm:pt>
  </dgm:ptLst>
  <dgm:cxnLst>
    <dgm:cxn modelId="{ABD92C0D-F74A-439F-80ED-A68B832DBB00}" type="presOf" srcId="{4BD4BE95-DA04-467F-B18A-588CCD81AEFA}" destId="{509A3961-01EB-4754-BB3A-BDFE98B24B19}" srcOrd="0" destOrd="0" presId="urn:microsoft.com/office/officeart/2005/8/layout/list1"/>
    <dgm:cxn modelId="{CBE4E622-2543-4705-9D2A-BA77030A9E48}" srcId="{4BD4BE95-DA04-467F-B18A-588CCD81AEFA}" destId="{ED6E3E25-725B-42DD-853C-B74D4FB05648}" srcOrd="2" destOrd="0" parTransId="{9F9B8D68-0CC7-4584-88CD-6E6990077673}" sibTransId="{C5E3A83C-6218-43B7-BEAD-43B3BC18BCAF}"/>
    <dgm:cxn modelId="{D6483834-10F8-4A4C-B9D5-9909ACA617A5}" type="presOf" srcId="{ED6E3E25-725B-42DD-853C-B74D4FB05648}" destId="{5D48554D-D78C-4C5F-A3EF-6BCFAFB0DCB5}" srcOrd="0" destOrd="2" presId="urn:microsoft.com/office/officeart/2005/8/layout/list1"/>
    <dgm:cxn modelId="{CBC3EB4B-E925-4B05-B48A-F42C8C72BA4A}" type="presOf" srcId="{06494277-5DEB-4F8B-A7A4-F6A4A4BF0470}" destId="{924D0D77-0CAD-4F98-807D-068AE3169374}" srcOrd="0" destOrd="0" presId="urn:microsoft.com/office/officeart/2005/8/layout/list1"/>
    <dgm:cxn modelId="{B47D0F8B-56BF-4470-9F55-D515577E968D}" srcId="{06494277-5DEB-4F8B-A7A4-F6A4A4BF0470}" destId="{4BD4BE95-DA04-467F-B18A-588CCD81AEFA}" srcOrd="0" destOrd="0" parTransId="{DDA4EF05-57BF-490D-BE72-4D211C156CE3}" sibTransId="{34F15B44-E92B-438F-AA71-A069DD535A49}"/>
    <dgm:cxn modelId="{D0F72E94-AC50-4E4C-80CC-3A2CFE89CC72}" srcId="{4BD4BE95-DA04-467F-B18A-588CCD81AEFA}" destId="{4E4F0300-A3B3-4158-88AE-BE2CB4A1410F}" srcOrd="1" destOrd="0" parTransId="{ABF799C7-1239-46E4-9E73-2DD124CC2467}" sibTransId="{BE4F4DA6-FB07-4D08-953B-9932DD165302}"/>
    <dgm:cxn modelId="{737D04A1-C59A-4372-8635-88EA9617FD78}" type="presOf" srcId="{26EBCA0C-9134-40E7-91E8-23B654CEC457}" destId="{5D48554D-D78C-4C5F-A3EF-6BCFAFB0DCB5}" srcOrd="0" destOrd="0" presId="urn:microsoft.com/office/officeart/2005/8/layout/list1"/>
    <dgm:cxn modelId="{E1989FA3-3F0A-4A6C-8A6C-ED4516B4E598}" type="presOf" srcId="{4E4F0300-A3B3-4158-88AE-BE2CB4A1410F}" destId="{5D48554D-D78C-4C5F-A3EF-6BCFAFB0DCB5}" srcOrd="0" destOrd="1" presId="urn:microsoft.com/office/officeart/2005/8/layout/list1"/>
    <dgm:cxn modelId="{809729DC-BE36-40E0-B0F1-119620BEF140}" type="presOf" srcId="{4BD4BE95-DA04-467F-B18A-588CCD81AEFA}" destId="{AC3ED61E-DD5A-455A-AD73-E6EC6B7C578A}" srcOrd="1" destOrd="0" presId="urn:microsoft.com/office/officeart/2005/8/layout/list1"/>
    <dgm:cxn modelId="{B6E706F3-4F24-4813-A919-20CB2AA54B69}" srcId="{4BD4BE95-DA04-467F-B18A-588CCD81AEFA}" destId="{26EBCA0C-9134-40E7-91E8-23B654CEC457}" srcOrd="0" destOrd="0" parTransId="{A0060282-1CAB-4920-B421-AE1D81629054}" sibTransId="{AE851259-3E26-43D7-891E-A8015CCF166E}"/>
    <dgm:cxn modelId="{3582E1AB-42DF-4D58-A38A-6A487C0CFA3F}" type="presParOf" srcId="{924D0D77-0CAD-4F98-807D-068AE3169374}" destId="{F6CC3001-D74B-4705-B184-34AC7A969A2E}" srcOrd="0" destOrd="0" presId="urn:microsoft.com/office/officeart/2005/8/layout/list1"/>
    <dgm:cxn modelId="{EDEF01AC-732C-4B5E-A84A-2B700675A527}" type="presParOf" srcId="{F6CC3001-D74B-4705-B184-34AC7A969A2E}" destId="{509A3961-01EB-4754-BB3A-BDFE98B24B19}" srcOrd="0" destOrd="0" presId="urn:microsoft.com/office/officeart/2005/8/layout/list1"/>
    <dgm:cxn modelId="{3110D3C8-D537-4E74-A959-D54685EA55B7}" type="presParOf" srcId="{F6CC3001-D74B-4705-B184-34AC7A969A2E}" destId="{AC3ED61E-DD5A-455A-AD73-E6EC6B7C578A}" srcOrd="1" destOrd="0" presId="urn:microsoft.com/office/officeart/2005/8/layout/list1"/>
    <dgm:cxn modelId="{0B7AFC64-84AD-4098-BBED-268D59DFF9A0}" type="presParOf" srcId="{924D0D77-0CAD-4F98-807D-068AE3169374}" destId="{19C8BB41-1852-42B6-AB55-7F5488DD674B}" srcOrd="1" destOrd="0" presId="urn:microsoft.com/office/officeart/2005/8/layout/list1"/>
    <dgm:cxn modelId="{96842510-AE84-46D4-92F3-8247DC921EF7}" type="presParOf" srcId="{924D0D77-0CAD-4F98-807D-068AE3169374}" destId="{5D48554D-D78C-4C5F-A3EF-6BCFAFB0DCB5}" srcOrd="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4DAABDD-90C5-4F71-BCE3-93E5B3809F2A}" type="doc">
      <dgm:prSet loTypeId="urn:microsoft.com/office/officeart/2005/8/layout/process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ZA"/>
        </a:p>
      </dgm:t>
    </dgm:pt>
    <dgm:pt modelId="{80E9B23A-736F-4477-A5E7-F107C2C4FA35}">
      <dgm:prSet phldrT="[Text]"/>
      <dgm:spPr/>
      <dgm:t>
        <a:bodyPr/>
        <a:lstStyle/>
        <a:p>
          <a:r>
            <a:rPr lang="en-ZA" dirty="0"/>
            <a:t>Prepare data</a:t>
          </a:r>
        </a:p>
      </dgm:t>
    </dgm:pt>
    <dgm:pt modelId="{2A35B248-31E0-482B-96E4-4456CD26A444}" type="parTrans" cxnId="{9479C23B-0C8D-41BF-9601-9531F93F7A54}">
      <dgm:prSet/>
      <dgm:spPr/>
      <dgm:t>
        <a:bodyPr/>
        <a:lstStyle/>
        <a:p>
          <a:endParaRPr lang="en-ZA"/>
        </a:p>
      </dgm:t>
    </dgm:pt>
    <dgm:pt modelId="{F7034360-0D1B-4DEF-9925-995AAE30DCF5}" type="sibTrans" cxnId="{9479C23B-0C8D-41BF-9601-9531F93F7A54}">
      <dgm:prSet/>
      <dgm:spPr/>
      <dgm:t>
        <a:bodyPr/>
        <a:lstStyle/>
        <a:p>
          <a:endParaRPr lang="en-ZA"/>
        </a:p>
      </dgm:t>
    </dgm:pt>
    <dgm:pt modelId="{94137826-5061-4FD7-8140-4234D30C6330}">
      <dgm:prSet phldrT="[Text]"/>
      <dgm:spPr/>
      <dgm:t>
        <a:bodyPr/>
        <a:lstStyle/>
        <a:p>
          <a:r>
            <a:rPr lang="en-ZA" dirty="0"/>
            <a:t>Remove rows with invalid features</a:t>
          </a:r>
        </a:p>
      </dgm:t>
    </dgm:pt>
    <dgm:pt modelId="{B90FA57D-6AF7-405C-8014-C6958942152E}" type="parTrans" cxnId="{E647FFEA-11F5-4FD3-B4B1-2F8D71ED96AF}">
      <dgm:prSet/>
      <dgm:spPr/>
      <dgm:t>
        <a:bodyPr/>
        <a:lstStyle/>
        <a:p>
          <a:endParaRPr lang="en-ZA"/>
        </a:p>
      </dgm:t>
    </dgm:pt>
    <dgm:pt modelId="{38668EE8-683D-4F65-BA2E-5B9C0DDD36AC}" type="sibTrans" cxnId="{E647FFEA-11F5-4FD3-B4B1-2F8D71ED96AF}">
      <dgm:prSet/>
      <dgm:spPr/>
      <dgm:t>
        <a:bodyPr/>
        <a:lstStyle/>
        <a:p>
          <a:endParaRPr lang="en-ZA"/>
        </a:p>
      </dgm:t>
    </dgm:pt>
    <dgm:pt modelId="{61007EB2-FBDF-48BB-BFF0-510A3DC47487}">
      <dgm:prSet phldrT="[Text]"/>
      <dgm:spPr/>
      <dgm:t>
        <a:bodyPr/>
        <a:lstStyle/>
        <a:p>
          <a:r>
            <a:rPr lang="en-ZA" dirty="0"/>
            <a:t>Build candidate models</a:t>
          </a:r>
        </a:p>
      </dgm:t>
    </dgm:pt>
    <dgm:pt modelId="{7B19B96A-BBDD-4037-B524-04D7C41EA38D}" type="parTrans" cxnId="{0DC6845C-E2F0-48F3-9BD9-1EB45B3248B6}">
      <dgm:prSet/>
      <dgm:spPr/>
      <dgm:t>
        <a:bodyPr/>
        <a:lstStyle/>
        <a:p>
          <a:endParaRPr lang="en-ZA"/>
        </a:p>
      </dgm:t>
    </dgm:pt>
    <dgm:pt modelId="{A5691A4D-8D6F-4A42-A613-8298E9A67163}" type="sibTrans" cxnId="{0DC6845C-E2F0-48F3-9BD9-1EB45B3248B6}">
      <dgm:prSet/>
      <dgm:spPr/>
      <dgm:t>
        <a:bodyPr/>
        <a:lstStyle/>
        <a:p>
          <a:endParaRPr lang="en-ZA"/>
        </a:p>
      </dgm:t>
    </dgm:pt>
    <dgm:pt modelId="{C67055BC-A0FC-4713-A8C5-E29103140275}">
      <dgm:prSet phldrT="[Text]"/>
      <dgm:spPr/>
      <dgm:t>
        <a:bodyPr/>
        <a:lstStyle/>
        <a:p>
          <a:r>
            <a:rPr lang="en-ZA" dirty="0"/>
            <a:t>Logistic regression</a:t>
          </a:r>
        </a:p>
      </dgm:t>
    </dgm:pt>
    <dgm:pt modelId="{C220F93C-BD13-4B52-A105-4EAD266AC366}" type="parTrans" cxnId="{DCEADCB7-C73C-47CD-BE91-C26C7CA5E4D4}">
      <dgm:prSet/>
      <dgm:spPr/>
      <dgm:t>
        <a:bodyPr/>
        <a:lstStyle/>
        <a:p>
          <a:endParaRPr lang="en-ZA"/>
        </a:p>
      </dgm:t>
    </dgm:pt>
    <dgm:pt modelId="{C1C17B80-024C-48B8-A962-337AF5860510}" type="sibTrans" cxnId="{DCEADCB7-C73C-47CD-BE91-C26C7CA5E4D4}">
      <dgm:prSet/>
      <dgm:spPr/>
      <dgm:t>
        <a:bodyPr/>
        <a:lstStyle/>
        <a:p>
          <a:endParaRPr lang="en-ZA"/>
        </a:p>
      </dgm:t>
    </dgm:pt>
    <dgm:pt modelId="{6AEB3B8E-6085-4930-8EAD-A40D098F0A2D}">
      <dgm:prSet phldrT="[Text]"/>
      <dgm:spPr/>
      <dgm:t>
        <a:bodyPr/>
        <a:lstStyle/>
        <a:p>
          <a:r>
            <a:rPr lang="en-ZA" dirty="0"/>
            <a:t>Select best performing model</a:t>
          </a:r>
        </a:p>
      </dgm:t>
    </dgm:pt>
    <dgm:pt modelId="{41DD2783-6266-437F-A4D4-F3E889AF1E82}" type="parTrans" cxnId="{F19053CD-C296-4347-B141-57F4C5A80FBA}">
      <dgm:prSet/>
      <dgm:spPr/>
      <dgm:t>
        <a:bodyPr/>
        <a:lstStyle/>
        <a:p>
          <a:endParaRPr lang="en-ZA"/>
        </a:p>
      </dgm:t>
    </dgm:pt>
    <dgm:pt modelId="{E366CCDC-AC89-4D6C-B880-8692EB04608A}" type="sibTrans" cxnId="{F19053CD-C296-4347-B141-57F4C5A80FBA}">
      <dgm:prSet/>
      <dgm:spPr/>
      <dgm:t>
        <a:bodyPr/>
        <a:lstStyle/>
        <a:p>
          <a:endParaRPr lang="en-ZA"/>
        </a:p>
      </dgm:t>
    </dgm:pt>
    <dgm:pt modelId="{BA706019-0FED-45EF-823B-2CC8EC1102EB}">
      <dgm:prSet phldrT="[Text]"/>
      <dgm:spPr/>
      <dgm:t>
        <a:bodyPr/>
        <a:lstStyle/>
        <a:p>
          <a:r>
            <a:rPr lang="en-ZA" dirty="0"/>
            <a:t>Evaluate each model</a:t>
          </a:r>
        </a:p>
      </dgm:t>
    </dgm:pt>
    <dgm:pt modelId="{00746643-EC19-427F-9FB7-A0BE7ED7EF39}" type="parTrans" cxnId="{39D231CD-5A2E-4ADD-B07E-939AA2A396AE}">
      <dgm:prSet/>
      <dgm:spPr/>
      <dgm:t>
        <a:bodyPr/>
        <a:lstStyle/>
        <a:p>
          <a:endParaRPr lang="en-ZA"/>
        </a:p>
      </dgm:t>
    </dgm:pt>
    <dgm:pt modelId="{AB869EC7-0FAD-463E-A163-0AED89447D21}" type="sibTrans" cxnId="{39D231CD-5A2E-4ADD-B07E-939AA2A396AE}">
      <dgm:prSet/>
      <dgm:spPr/>
      <dgm:t>
        <a:bodyPr/>
        <a:lstStyle/>
        <a:p>
          <a:endParaRPr lang="en-ZA"/>
        </a:p>
      </dgm:t>
    </dgm:pt>
    <dgm:pt modelId="{E49E25F8-36C1-4A52-A217-C4D722BFBABB}">
      <dgm:prSet phldrT="[Text]"/>
      <dgm:spPr/>
      <dgm:t>
        <a:bodyPr/>
        <a:lstStyle/>
        <a:p>
          <a:r>
            <a:rPr lang="en-ZA" dirty="0"/>
            <a:t>Remove redundant features</a:t>
          </a:r>
        </a:p>
      </dgm:t>
    </dgm:pt>
    <dgm:pt modelId="{2AF1FCB9-0F87-4DBA-8252-E339ADE703DC}" type="parTrans" cxnId="{FA79FFA7-3D30-4540-BF84-2980235EC487}">
      <dgm:prSet/>
      <dgm:spPr/>
      <dgm:t>
        <a:bodyPr/>
        <a:lstStyle/>
        <a:p>
          <a:endParaRPr lang="en-ZA"/>
        </a:p>
      </dgm:t>
    </dgm:pt>
    <dgm:pt modelId="{A29CE568-FC52-47DB-BE51-6603049804E1}" type="sibTrans" cxnId="{FA79FFA7-3D30-4540-BF84-2980235EC487}">
      <dgm:prSet/>
      <dgm:spPr/>
      <dgm:t>
        <a:bodyPr/>
        <a:lstStyle/>
        <a:p>
          <a:endParaRPr lang="en-ZA"/>
        </a:p>
      </dgm:t>
    </dgm:pt>
    <dgm:pt modelId="{9D6DF45D-0425-41D8-8FCB-8B793D7FB1DC}">
      <dgm:prSet phldrT="[Text]"/>
      <dgm:spPr/>
      <dgm:t>
        <a:bodyPr/>
        <a:lstStyle/>
        <a:p>
          <a:r>
            <a:rPr lang="en-ZA" dirty="0"/>
            <a:t>Bin continuous features</a:t>
          </a:r>
        </a:p>
      </dgm:t>
    </dgm:pt>
    <dgm:pt modelId="{8815DF2D-5311-488B-88F9-0527CA026067}" type="parTrans" cxnId="{DA3A1324-2AF3-414B-BD72-FE9475578837}">
      <dgm:prSet/>
      <dgm:spPr/>
      <dgm:t>
        <a:bodyPr/>
        <a:lstStyle/>
        <a:p>
          <a:endParaRPr lang="en-ZA"/>
        </a:p>
      </dgm:t>
    </dgm:pt>
    <dgm:pt modelId="{C0DCE8B8-4679-4131-AE04-450951CC7109}" type="sibTrans" cxnId="{DA3A1324-2AF3-414B-BD72-FE9475578837}">
      <dgm:prSet/>
      <dgm:spPr/>
      <dgm:t>
        <a:bodyPr/>
        <a:lstStyle/>
        <a:p>
          <a:endParaRPr lang="en-ZA"/>
        </a:p>
      </dgm:t>
    </dgm:pt>
    <dgm:pt modelId="{E39C3594-C396-449E-836C-186EFE5EAF48}">
      <dgm:prSet phldrT="[Text]"/>
      <dgm:spPr/>
      <dgm:t>
        <a:bodyPr/>
        <a:lstStyle/>
        <a:p>
          <a:r>
            <a:rPr lang="en-ZA" dirty="0"/>
            <a:t>“One-hot” encode categorical features</a:t>
          </a:r>
        </a:p>
      </dgm:t>
    </dgm:pt>
    <dgm:pt modelId="{0D831D40-9F69-4A04-8EC2-BFA71D505096}" type="parTrans" cxnId="{E8F8B3EE-3AE1-4774-A7B3-D073A9C78EBA}">
      <dgm:prSet/>
      <dgm:spPr/>
      <dgm:t>
        <a:bodyPr/>
        <a:lstStyle/>
        <a:p>
          <a:endParaRPr lang="en-ZA"/>
        </a:p>
      </dgm:t>
    </dgm:pt>
    <dgm:pt modelId="{AC9EF6E9-BC66-4847-B998-5C234BAE6418}" type="sibTrans" cxnId="{E8F8B3EE-3AE1-4774-A7B3-D073A9C78EBA}">
      <dgm:prSet/>
      <dgm:spPr/>
      <dgm:t>
        <a:bodyPr/>
        <a:lstStyle/>
        <a:p>
          <a:endParaRPr lang="en-ZA"/>
        </a:p>
      </dgm:t>
    </dgm:pt>
    <dgm:pt modelId="{37536BDB-5E1E-46F3-80A6-A6D9F74E5C3E}">
      <dgm:prSet phldrT="[Text]"/>
      <dgm:spPr/>
      <dgm:t>
        <a:bodyPr/>
        <a:lstStyle/>
        <a:p>
          <a:r>
            <a:rPr lang="en-ZA" dirty="0"/>
            <a:t>Extreme gradient boosting</a:t>
          </a:r>
        </a:p>
      </dgm:t>
    </dgm:pt>
    <dgm:pt modelId="{07A2C182-71F6-4499-AAEE-1594FAA1AD82}" type="parTrans" cxnId="{B60E491A-AC77-411C-8F4B-E18E9CFF530F}">
      <dgm:prSet/>
      <dgm:spPr/>
      <dgm:t>
        <a:bodyPr/>
        <a:lstStyle/>
        <a:p>
          <a:endParaRPr lang="en-ZA"/>
        </a:p>
      </dgm:t>
    </dgm:pt>
    <dgm:pt modelId="{AD472330-96FB-45F2-9F73-7247BA833E13}" type="sibTrans" cxnId="{B60E491A-AC77-411C-8F4B-E18E9CFF530F}">
      <dgm:prSet/>
      <dgm:spPr/>
      <dgm:t>
        <a:bodyPr/>
        <a:lstStyle/>
        <a:p>
          <a:endParaRPr lang="en-ZA"/>
        </a:p>
      </dgm:t>
    </dgm:pt>
    <dgm:pt modelId="{62FAEBCF-6220-4096-BD1A-6158A9B0B9DE}">
      <dgm:prSet phldrT="[Text]"/>
      <dgm:spPr/>
      <dgm:t>
        <a:bodyPr/>
        <a:lstStyle/>
        <a:p>
          <a:r>
            <a:rPr lang="en-ZA" dirty="0"/>
            <a:t>Multilayer perceptron (Artificial neural network)</a:t>
          </a:r>
        </a:p>
      </dgm:t>
    </dgm:pt>
    <dgm:pt modelId="{B73765C7-417B-4D05-9B99-6468CD6C075E}" type="parTrans" cxnId="{8021EC7E-BF65-4D86-AE04-8DA78424D845}">
      <dgm:prSet/>
      <dgm:spPr/>
      <dgm:t>
        <a:bodyPr/>
        <a:lstStyle/>
        <a:p>
          <a:endParaRPr lang="en-ZA"/>
        </a:p>
      </dgm:t>
    </dgm:pt>
    <dgm:pt modelId="{F42446D7-6D97-4D81-A147-997F2018D9FE}" type="sibTrans" cxnId="{8021EC7E-BF65-4D86-AE04-8DA78424D845}">
      <dgm:prSet/>
      <dgm:spPr/>
      <dgm:t>
        <a:bodyPr/>
        <a:lstStyle/>
        <a:p>
          <a:endParaRPr lang="en-ZA"/>
        </a:p>
      </dgm:t>
    </dgm:pt>
    <dgm:pt modelId="{BAC6C9C4-862F-4970-AB53-59DBAD23C150}">
      <dgm:prSet phldrT="[Text]"/>
      <dgm:spPr/>
      <dgm:t>
        <a:bodyPr/>
        <a:lstStyle/>
        <a:p>
          <a:r>
            <a:rPr lang="en-ZA" dirty="0"/>
            <a:t>Random forest</a:t>
          </a:r>
        </a:p>
      </dgm:t>
    </dgm:pt>
    <dgm:pt modelId="{C1877132-6009-435C-9120-4F86C9F783EF}" type="parTrans" cxnId="{CA427915-7A9D-4CD0-975E-5568D9A98344}">
      <dgm:prSet/>
      <dgm:spPr/>
      <dgm:t>
        <a:bodyPr/>
        <a:lstStyle/>
        <a:p>
          <a:endParaRPr lang="en-ZA"/>
        </a:p>
      </dgm:t>
    </dgm:pt>
    <dgm:pt modelId="{9785FCFD-A27C-445D-9AF7-FA58839A39D7}" type="sibTrans" cxnId="{CA427915-7A9D-4CD0-975E-5568D9A98344}">
      <dgm:prSet/>
      <dgm:spPr/>
      <dgm:t>
        <a:bodyPr/>
        <a:lstStyle/>
        <a:p>
          <a:endParaRPr lang="en-ZA"/>
        </a:p>
      </dgm:t>
    </dgm:pt>
    <dgm:pt modelId="{59474BBA-41C0-4B4B-A737-01DFC222AF86}">
      <dgm:prSet phldrT="[Text]"/>
      <dgm:spPr/>
      <dgm:t>
        <a:bodyPr/>
        <a:lstStyle/>
        <a:p>
          <a:r>
            <a:rPr lang="en-ZA" dirty="0"/>
            <a:t>Select model that returns the fewest false positives</a:t>
          </a:r>
        </a:p>
      </dgm:t>
    </dgm:pt>
    <dgm:pt modelId="{4FCBC623-05B5-4E3C-850E-1685BB7BACAC}" type="parTrans" cxnId="{77B0B156-EE2B-444D-ABA9-5CE8BE38F327}">
      <dgm:prSet/>
      <dgm:spPr/>
      <dgm:t>
        <a:bodyPr/>
        <a:lstStyle/>
        <a:p>
          <a:endParaRPr lang="en-ZA"/>
        </a:p>
      </dgm:t>
    </dgm:pt>
    <dgm:pt modelId="{B58CE244-0A37-4B59-BDB7-C164BB85845A}" type="sibTrans" cxnId="{77B0B156-EE2B-444D-ABA9-5CE8BE38F327}">
      <dgm:prSet/>
      <dgm:spPr/>
      <dgm:t>
        <a:bodyPr/>
        <a:lstStyle/>
        <a:p>
          <a:endParaRPr lang="en-ZA"/>
        </a:p>
      </dgm:t>
    </dgm:pt>
    <dgm:pt modelId="{1E7535CC-E505-445D-B7CC-55771DBDBD47}">
      <dgm:prSet phldrT="[Text]"/>
      <dgm:spPr/>
      <dgm:t>
        <a:bodyPr/>
        <a:lstStyle/>
        <a:p>
          <a:r>
            <a:rPr lang="en-ZA" dirty="0"/>
            <a:t>Analyse variables</a:t>
          </a:r>
        </a:p>
      </dgm:t>
    </dgm:pt>
    <dgm:pt modelId="{ED4246B8-DC09-4522-B217-E89BA5DFE393}" type="parTrans" cxnId="{DF38A353-C4BA-44C2-82C4-50F70B465541}">
      <dgm:prSet/>
      <dgm:spPr/>
      <dgm:t>
        <a:bodyPr/>
        <a:lstStyle/>
        <a:p>
          <a:endParaRPr lang="en-ZA"/>
        </a:p>
      </dgm:t>
    </dgm:pt>
    <dgm:pt modelId="{9AE981CD-F12B-4C29-9F17-75FFC80940D7}" type="sibTrans" cxnId="{DF38A353-C4BA-44C2-82C4-50F70B465541}">
      <dgm:prSet/>
      <dgm:spPr/>
      <dgm:t>
        <a:bodyPr/>
        <a:lstStyle/>
        <a:p>
          <a:endParaRPr lang="en-ZA"/>
        </a:p>
      </dgm:t>
    </dgm:pt>
    <dgm:pt modelId="{6E2635C4-7E4A-4619-8B1A-7A9FAFDE0E00}">
      <dgm:prSet phldrT="[Text]"/>
      <dgm:spPr/>
      <dgm:t>
        <a:bodyPr/>
        <a:lstStyle/>
        <a:p>
          <a:r>
            <a:rPr lang="en-ZA" dirty="0"/>
            <a:t>Use variable importance to suggest initiatives that can reduce churn</a:t>
          </a:r>
        </a:p>
      </dgm:t>
    </dgm:pt>
    <dgm:pt modelId="{639C6D35-8B4C-431D-B677-A0CAD3072CE1}" type="parTrans" cxnId="{F258CCB8-3246-47EF-A728-A8CBC50E04CD}">
      <dgm:prSet/>
      <dgm:spPr/>
      <dgm:t>
        <a:bodyPr/>
        <a:lstStyle/>
        <a:p>
          <a:endParaRPr lang="en-ZA"/>
        </a:p>
      </dgm:t>
    </dgm:pt>
    <dgm:pt modelId="{5D196BD2-3A34-48C9-9ABB-8294752A6C90}" type="sibTrans" cxnId="{F258CCB8-3246-47EF-A728-A8CBC50E04CD}">
      <dgm:prSet/>
      <dgm:spPr/>
      <dgm:t>
        <a:bodyPr/>
        <a:lstStyle/>
        <a:p>
          <a:endParaRPr lang="en-ZA"/>
        </a:p>
      </dgm:t>
    </dgm:pt>
    <dgm:pt modelId="{50BDF5D7-096B-44B2-8AAE-89A96D42BAFB}" type="pres">
      <dgm:prSet presAssocID="{34DAABDD-90C5-4F71-BCE3-93E5B3809F2A}" presName="linearFlow" presStyleCnt="0">
        <dgm:presLayoutVars>
          <dgm:dir/>
          <dgm:animLvl val="lvl"/>
          <dgm:resizeHandles val="exact"/>
        </dgm:presLayoutVars>
      </dgm:prSet>
      <dgm:spPr/>
    </dgm:pt>
    <dgm:pt modelId="{FD33C897-4DE9-496F-A94F-0B7BBECAC31D}" type="pres">
      <dgm:prSet presAssocID="{80E9B23A-736F-4477-A5E7-F107C2C4FA35}" presName="composite" presStyleCnt="0"/>
      <dgm:spPr/>
    </dgm:pt>
    <dgm:pt modelId="{CAC3802E-2FA8-483A-A828-33249CC33BEE}" type="pres">
      <dgm:prSet presAssocID="{80E9B23A-736F-4477-A5E7-F107C2C4FA35}" presName="parTx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9F9479FC-4AC2-4170-B522-D4DD312DCC6F}" type="pres">
      <dgm:prSet presAssocID="{80E9B23A-736F-4477-A5E7-F107C2C4FA35}" presName="parSh" presStyleLbl="node1" presStyleIdx="0" presStyleCnt="4"/>
      <dgm:spPr/>
    </dgm:pt>
    <dgm:pt modelId="{60FD9227-B90B-49A1-ACA0-E3F65999D178}" type="pres">
      <dgm:prSet presAssocID="{80E9B23A-736F-4477-A5E7-F107C2C4FA35}" presName="desTx" presStyleLbl="fgAcc1" presStyleIdx="0" presStyleCnt="4">
        <dgm:presLayoutVars>
          <dgm:bulletEnabled val="1"/>
        </dgm:presLayoutVars>
      </dgm:prSet>
      <dgm:spPr/>
    </dgm:pt>
    <dgm:pt modelId="{0149BFF9-DEAF-43F5-8A10-42F8E832DAEE}" type="pres">
      <dgm:prSet presAssocID="{F7034360-0D1B-4DEF-9925-995AAE30DCF5}" presName="sibTrans" presStyleLbl="sibTrans2D1" presStyleIdx="0" presStyleCnt="3"/>
      <dgm:spPr/>
    </dgm:pt>
    <dgm:pt modelId="{3E5111AF-BAEB-474A-B937-D1689A6DFA0E}" type="pres">
      <dgm:prSet presAssocID="{F7034360-0D1B-4DEF-9925-995AAE30DCF5}" presName="connTx" presStyleLbl="sibTrans2D1" presStyleIdx="0" presStyleCnt="3"/>
      <dgm:spPr/>
    </dgm:pt>
    <dgm:pt modelId="{602507A6-9863-4951-A249-2E1D1B9A7615}" type="pres">
      <dgm:prSet presAssocID="{61007EB2-FBDF-48BB-BFF0-510A3DC47487}" presName="composite" presStyleCnt="0"/>
      <dgm:spPr/>
    </dgm:pt>
    <dgm:pt modelId="{868B7B65-784B-4B8B-BDE2-8BBD0981842B}" type="pres">
      <dgm:prSet presAssocID="{61007EB2-FBDF-48BB-BFF0-510A3DC47487}" presName="parTx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9DD215C1-551C-45E6-A353-52630CE78BC5}" type="pres">
      <dgm:prSet presAssocID="{61007EB2-FBDF-48BB-BFF0-510A3DC47487}" presName="parSh" presStyleLbl="node1" presStyleIdx="1" presStyleCnt="4"/>
      <dgm:spPr/>
    </dgm:pt>
    <dgm:pt modelId="{ECA99AFA-5AE4-443E-90C4-878498679854}" type="pres">
      <dgm:prSet presAssocID="{61007EB2-FBDF-48BB-BFF0-510A3DC47487}" presName="desTx" presStyleLbl="fgAcc1" presStyleIdx="1" presStyleCnt="4">
        <dgm:presLayoutVars>
          <dgm:bulletEnabled val="1"/>
        </dgm:presLayoutVars>
      </dgm:prSet>
      <dgm:spPr/>
    </dgm:pt>
    <dgm:pt modelId="{ABAED110-A623-4CDD-8669-824A79FC0842}" type="pres">
      <dgm:prSet presAssocID="{A5691A4D-8D6F-4A42-A613-8298E9A67163}" presName="sibTrans" presStyleLbl="sibTrans2D1" presStyleIdx="1" presStyleCnt="3"/>
      <dgm:spPr/>
    </dgm:pt>
    <dgm:pt modelId="{5EBB6F5B-7CC5-4FA0-B0AF-EE2D8F06013A}" type="pres">
      <dgm:prSet presAssocID="{A5691A4D-8D6F-4A42-A613-8298E9A67163}" presName="connTx" presStyleLbl="sibTrans2D1" presStyleIdx="1" presStyleCnt="3"/>
      <dgm:spPr/>
    </dgm:pt>
    <dgm:pt modelId="{2A285EBF-216C-4E0A-80C4-C46B08DB8731}" type="pres">
      <dgm:prSet presAssocID="{6AEB3B8E-6085-4930-8EAD-A40D098F0A2D}" presName="composite" presStyleCnt="0"/>
      <dgm:spPr/>
    </dgm:pt>
    <dgm:pt modelId="{D5CBC4E0-3615-45D9-877F-45DA4E1F48DA}" type="pres">
      <dgm:prSet presAssocID="{6AEB3B8E-6085-4930-8EAD-A40D098F0A2D}" presName="parTx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AF5E59BF-5EC4-4AC5-B74F-A2D3D505DE54}" type="pres">
      <dgm:prSet presAssocID="{6AEB3B8E-6085-4930-8EAD-A40D098F0A2D}" presName="parSh" presStyleLbl="node1" presStyleIdx="2" presStyleCnt="4"/>
      <dgm:spPr/>
    </dgm:pt>
    <dgm:pt modelId="{33AA523E-9AFD-4DB6-A567-7008616146A0}" type="pres">
      <dgm:prSet presAssocID="{6AEB3B8E-6085-4930-8EAD-A40D098F0A2D}" presName="desTx" presStyleLbl="fgAcc1" presStyleIdx="2" presStyleCnt="4">
        <dgm:presLayoutVars>
          <dgm:bulletEnabled val="1"/>
        </dgm:presLayoutVars>
      </dgm:prSet>
      <dgm:spPr/>
    </dgm:pt>
    <dgm:pt modelId="{6A4CF50C-F286-4FB0-A336-80F226E49EAB}" type="pres">
      <dgm:prSet presAssocID="{E366CCDC-AC89-4D6C-B880-8692EB04608A}" presName="sibTrans" presStyleLbl="sibTrans2D1" presStyleIdx="2" presStyleCnt="3"/>
      <dgm:spPr/>
    </dgm:pt>
    <dgm:pt modelId="{CBBE62D4-8B94-42D9-BDCE-32315E0D6758}" type="pres">
      <dgm:prSet presAssocID="{E366CCDC-AC89-4D6C-B880-8692EB04608A}" presName="connTx" presStyleLbl="sibTrans2D1" presStyleIdx="2" presStyleCnt="3"/>
      <dgm:spPr/>
    </dgm:pt>
    <dgm:pt modelId="{EEC2DF68-38BF-462A-BF23-954DF0E58138}" type="pres">
      <dgm:prSet presAssocID="{1E7535CC-E505-445D-B7CC-55771DBDBD47}" presName="composite" presStyleCnt="0"/>
      <dgm:spPr/>
    </dgm:pt>
    <dgm:pt modelId="{9FA26B47-FB86-47EB-97FA-0867C871E997}" type="pres">
      <dgm:prSet presAssocID="{1E7535CC-E505-445D-B7CC-55771DBDBD47}" presName="parTx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240BEC8F-7E71-4F6E-B148-5476F2DC25C1}" type="pres">
      <dgm:prSet presAssocID="{1E7535CC-E505-445D-B7CC-55771DBDBD47}" presName="parSh" presStyleLbl="node1" presStyleIdx="3" presStyleCnt="4"/>
      <dgm:spPr/>
    </dgm:pt>
    <dgm:pt modelId="{E0E4CD74-1F7E-414F-B78B-F8C6A07974F1}" type="pres">
      <dgm:prSet presAssocID="{1E7535CC-E505-445D-B7CC-55771DBDBD47}" presName="desTx" presStyleLbl="fgAcc1" presStyleIdx="3" presStyleCnt="4">
        <dgm:presLayoutVars>
          <dgm:bulletEnabled val="1"/>
        </dgm:presLayoutVars>
      </dgm:prSet>
      <dgm:spPr/>
    </dgm:pt>
  </dgm:ptLst>
  <dgm:cxnLst>
    <dgm:cxn modelId="{2C10A211-4F95-4C99-9451-81E3A74F6199}" type="presOf" srcId="{37536BDB-5E1E-46F3-80A6-A6D9F74E5C3E}" destId="{ECA99AFA-5AE4-443E-90C4-878498679854}" srcOrd="0" destOrd="1" presId="urn:microsoft.com/office/officeart/2005/8/layout/process3"/>
    <dgm:cxn modelId="{CA427915-7A9D-4CD0-975E-5568D9A98344}" srcId="{61007EB2-FBDF-48BB-BFF0-510A3DC47487}" destId="{BAC6C9C4-862F-4970-AB53-59DBAD23C150}" srcOrd="3" destOrd="0" parTransId="{C1877132-6009-435C-9120-4F86C9F783EF}" sibTransId="{9785FCFD-A27C-445D-9AF7-FA58839A39D7}"/>
    <dgm:cxn modelId="{B60E491A-AC77-411C-8F4B-E18E9CFF530F}" srcId="{61007EB2-FBDF-48BB-BFF0-510A3DC47487}" destId="{37536BDB-5E1E-46F3-80A6-A6D9F74E5C3E}" srcOrd="1" destOrd="0" parTransId="{07A2C182-71F6-4499-AAEE-1594FAA1AD82}" sibTransId="{AD472330-96FB-45F2-9F73-7247BA833E13}"/>
    <dgm:cxn modelId="{DA3A1324-2AF3-414B-BD72-FE9475578837}" srcId="{80E9B23A-736F-4477-A5E7-F107C2C4FA35}" destId="{9D6DF45D-0425-41D8-8FCB-8B793D7FB1DC}" srcOrd="2" destOrd="0" parTransId="{8815DF2D-5311-488B-88F9-0527CA026067}" sibTransId="{C0DCE8B8-4679-4131-AE04-450951CC7109}"/>
    <dgm:cxn modelId="{1B91CD2D-F0E5-4FA6-BBF0-107FE3954EEA}" type="presOf" srcId="{80E9B23A-736F-4477-A5E7-F107C2C4FA35}" destId="{CAC3802E-2FA8-483A-A828-33249CC33BEE}" srcOrd="0" destOrd="0" presId="urn:microsoft.com/office/officeart/2005/8/layout/process3"/>
    <dgm:cxn modelId="{6FCDD334-0205-4B11-ACF6-120FECEBE31C}" type="presOf" srcId="{6AEB3B8E-6085-4930-8EAD-A40D098F0A2D}" destId="{D5CBC4E0-3615-45D9-877F-45DA4E1F48DA}" srcOrd="0" destOrd="0" presId="urn:microsoft.com/office/officeart/2005/8/layout/process3"/>
    <dgm:cxn modelId="{AC52D737-38ED-46DD-9C3B-1A8DAB6EA395}" type="presOf" srcId="{1E7535CC-E505-445D-B7CC-55771DBDBD47}" destId="{9FA26B47-FB86-47EB-97FA-0867C871E997}" srcOrd="0" destOrd="0" presId="urn:microsoft.com/office/officeart/2005/8/layout/process3"/>
    <dgm:cxn modelId="{C8B62C3B-CE79-4360-8115-7DD493AC06B7}" type="presOf" srcId="{E39C3594-C396-449E-836C-186EFE5EAF48}" destId="{60FD9227-B90B-49A1-ACA0-E3F65999D178}" srcOrd="0" destOrd="3" presId="urn:microsoft.com/office/officeart/2005/8/layout/process3"/>
    <dgm:cxn modelId="{9479C23B-0C8D-41BF-9601-9531F93F7A54}" srcId="{34DAABDD-90C5-4F71-BCE3-93E5B3809F2A}" destId="{80E9B23A-736F-4477-A5E7-F107C2C4FA35}" srcOrd="0" destOrd="0" parTransId="{2A35B248-31E0-482B-96E4-4456CD26A444}" sibTransId="{F7034360-0D1B-4DEF-9925-995AAE30DCF5}"/>
    <dgm:cxn modelId="{8D2D6B3C-EA7C-4118-9B26-00059E344845}" type="presOf" srcId="{E366CCDC-AC89-4D6C-B880-8692EB04608A}" destId="{CBBE62D4-8B94-42D9-BDCE-32315E0D6758}" srcOrd="1" destOrd="0" presId="urn:microsoft.com/office/officeart/2005/8/layout/process3"/>
    <dgm:cxn modelId="{FD95155B-9A24-45CB-BFE1-0F3BC48B03CB}" type="presOf" srcId="{A5691A4D-8D6F-4A42-A613-8298E9A67163}" destId="{ABAED110-A623-4CDD-8669-824A79FC0842}" srcOrd="0" destOrd="0" presId="urn:microsoft.com/office/officeart/2005/8/layout/process3"/>
    <dgm:cxn modelId="{0DC6845C-E2F0-48F3-9BD9-1EB45B3248B6}" srcId="{34DAABDD-90C5-4F71-BCE3-93E5B3809F2A}" destId="{61007EB2-FBDF-48BB-BFF0-510A3DC47487}" srcOrd="1" destOrd="0" parTransId="{7B19B96A-BBDD-4037-B524-04D7C41EA38D}" sibTransId="{A5691A4D-8D6F-4A42-A613-8298E9A67163}"/>
    <dgm:cxn modelId="{48E02E64-D64F-4CAE-9159-58B7D39479F8}" type="presOf" srcId="{61007EB2-FBDF-48BB-BFF0-510A3DC47487}" destId="{868B7B65-784B-4B8B-BDE2-8BBD0981842B}" srcOrd="0" destOrd="0" presId="urn:microsoft.com/office/officeart/2005/8/layout/process3"/>
    <dgm:cxn modelId="{49ACC264-80A7-480E-B3B8-EEC1C30C2D11}" type="presOf" srcId="{34DAABDD-90C5-4F71-BCE3-93E5B3809F2A}" destId="{50BDF5D7-096B-44B2-8AAE-89A96D42BAFB}" srcOrd="0" destOrd="0" presId="urn:microsoft.com/office/officeart/2005/8/layout/process3"/>
    <dgm:cxn modelId="{5C4B9C49-E004-40E1-B121-FC9EF99BBFAD}" type="presOf" srcId="{94137826-5061-4FD7-8140-4234D30C6330}" destId="{60FD9227-B90B-49A1-ACA0-E3F65999D178}" srcOrd="0" destOrd="0" presId="urn:microsoft.com/office/officeart/2005/8/layout/process3"/>
    <dgm:cxn modelId="{F26CE749-709B-4A1E-B566-EFDA24B17102}" type="presOf" srcId="{E366CCDC-AC89-4D6C-B880-8692EB04608A}" destId="{6A4CF50C-F286-4FB0-A336-80F226E49EAB}" srcOrd="0" destOrd="0" presId="urn:microsoft.com/office/officeart/2005/8/layout/process3"/>
    <dgm:cxn modelId="{52C0754E-CC45-48DB-8DD4-BEA37580744A}" type="presOf" srcId="{BAC6C9C4-862F-4970-AB53-59DBAD23C150}" destId="{ECA99AFA-5AE4-443E-90C4-878498679854}" srcOrd="0" destOrd="3" presId="urn:microsoft.com/office/officeart/2005/8/layout/process3"/>
    <dgm:cxn modelId="{DF38A353-C4BA-44C2-82C4-50F70B465541}" srcId="{34DAABDD-90C5-4F71-BCE3-93E5B3809F2A}" destId="{1E7535CC-E505-445D-B7CC-55771DBDBD47}" srcOrd="3" destOrd="0" parTransId="{ED4246B8-DC09-4522-B217-E89BA5DFE393}" sibTransId="{9AE981CD-F12B-4C29-9F17-75FFC80940D7}"/>
    <dgm:cxn modelId="{77B0B156-EE2B-444D-ABA9-5CE8BE38F327}" srcId="{6AEB3B8E-6085-4930-8EAD-A40D098F0A2D}" destId="{59474BBA-41C0-4B4B-A737-01DFC222AF86}" srcOrd="1" destOrd="0" parTransId="{4FCBC623-05B5-4E3C-850E-1685BB7BACAC}" sibTransId="{B58CE244-0A37-4B59-BDB7-C164BB85845A}"/>
    <dgm:cxn modelId="{8021EC7E-BF65-4D86-AE04-8DA78424D845}" srcId="{61007EB2-FBDF-48BB-BFF0-510A3DC47487}" destId="{62FAEBCF-6220-4096-BD1A-6158A9B0B9DE}" srcOrd="2" destOrd="0" parTransId="{B73765C7-417B-4D05-9B99-6468CD6C075E}" sibTransId="{F42446D7-6D97-4D81-A147-997F2018D9FE}"/>
    <dgm:cxn modelId="{3C0E3883-2523-49F0-846F-8DFB6AA07E40}" type="presOf" srcId="{6E2635C4-7E4A-4619-8B1A-7A9FAFDE0E00}" destId="{E0E4CD74-1F7E-414F-B78B-F8C6A07974F1}" srcOrd="0" destOrd="0" presId="urn:microsoft.com/office/officeart/2005/8/layout/process3"/>
    <dgm:cxn modelId="{7BD67F85-2605-4B03-80A7-4183ADADCF6D}" type="presOf" srcId="{9D6DF45D-0425-41D8-8FCB-8B793D7FB1DC}" destId="{60FD9227-B90B-49A1-ACA0-E3F65999D178}" srcOrd="0" destOrd="2" presId="urn:microsoft.com/office/officeart/2005/8/layout/process3"/>
    <dgm:cxn modelId="{6B341E86-6DE1-46A3-A546-CF761B8A4A06}" type="presOf" srcId="{59474BBA-41C0-4B4B-A737-01DFC222AF86}" destId="{33AA523E-9AFD-4DB6-A567-7008616146A0}" srcOrd="0" destOrd="1" presId="urn:microsoft.com/office/officeart/2005/8/layout/process3"/>
    <dgm:cxn modelId="{670B7198-8B2D-42AE-9289-34F8C133A11C}" type="presOf" srcId="{A5691A4D-8D6F-4A42-A613-8298E9A67163}" destId="{5EBB6F5B-7CC5-4FA0-B0AF-EE2D8F06013A}" srcOrd="1" destOrd="0" presId="urn:microsoft.com/office/officeart/2005/8/layout/process3"/>
    <dgm:cxn modelId="{DF0C3C99-9C37-4AAA-98FA-53F88C4ED606}" type="presOf" srcId="{C67055BC-A0FC-4713-A8C5-E29103140275}" destId="{ECA99AFA-5AE4-443E-90C4-878498679854}" srcOrd="0" destOrd="0" presId="urn:microsoft.com/office/officeart/2005/8/layout/process3"/>
    <dgm:cxn modelId="{FA79FFA7-3D30-4540-BF84-2980235EC487}" srcId="{80E9B23A-736F-4477-A5E7-F107C2C4FA35}" destId="{E49E25F8-36C1-4A52-A217-C4D722BFBABB}" srcOrd="1" destOrd="0" parTransId="{2AF1FCB9-0F87-4DBA-8252-E339ADE703DC}" sibTransId="{A29CE568-FC52-47DB-BE51-6603049804E1}"/>
    <dgm:cxn modelId="{9AAC33A8-F39C-4CE2-922B-6A1A3E742579}" type="presOf" srcId="{1E7535CC-E505-445D-B7CC-55771DBDBD47}" destId="{240BEC8F-7E71-4F6E-B148-5476F2DC25C1}" srcOrd="1" destOrd="0" presId="urn:microsoft.com/office/officeart/2005/8/layout/process3"/>
    <dgm:cxn modelId="{3A4415B4-37D2-4ED5-9F9E-8BED7EB77B25}" type="presOf" srcId="{E49E25F8-36C1-4A52-A217-C4D722BFBABB}" destId="{60FD9227-B90B-49A1-ACA0-E3F65999D178}" srcOrd="0" destOrd="1" presId="urn:microsoft.com/office/officeart/2005/8/layout/process3"/>
    <dgm:cxn modelId="{DCEADCB7-C73C-47CD-BE91-C26C7CA5E4D4}" srcId="{61007EB2-FBDF-48BB-BFF0-510A3DC47487}" destId="{C67055BC-A0FC-4713-A8C5-E29103140275}" srcOrd="0" destOrd="0" parTransId="{C220F93C-BD13-4B52-A105-4EAD266AC366}" sibTransId="{C1C17B80-024C-48B8-A962-337AF5860510}"/>
    <dgm:cxn modelId="{F258CCB8-3246-47EF-A728-A8CBC50E04CD}" srcId="{1E7535CC-E505-445D-B7CC-55771DBDBD47}" destId="{6E2635C4-7E4A-4619-8B1A-7A9FAFDE0E00}" srcOrd="0" destOrd="0" parTransId="{639C6D35-8B4C-431D-B677-A0CAD3072CE1}" sibTransId="{5D196BD2-3A34-48C9-9ABB-8294752A6C90}"/>
    <dgm:cxn modelId="{AADBE1CC-8E80-40C4-AD8D-5EBAAED502F7}" type="presOf" srcId="{61007EB2-FBDF-48BB-BFF0-510A3DC47487}" destId="{9DD215C1-551C-45E6-A353-52630CE78BC5}" srcOrd="1" destOrd="0" presId="urn:microsoft.com/office/officeart/2005/8/layout/process3"/>
    <dgm:cxn modelId="{39D231CD-5A2E-4ADD-B07E-939AA2A396AE}" srcId="{6AEB3B8E-6085-4930-8EAD-A40D098F0A2D}" destId="{BA706019-0FED-45EF-823B-2CC8EC1102EB}" srcOrd="0" destOrd="0" parTransId="{00746643-EC19-427F-9FB7-A0BE7ED7EF39}" sibTransId="{AB869EC7-0FAD-463E-A163-0AED89447D21}"/>
    <dgm:cxn modelId="{F19053CD-C296-4347-B141-57F4C5A80FBA}" srcId="{34DAABDD-90C5-4F71-BCE3-93E5B3809F2A}" destId="{6AEB3B8E-6085-4930-8EAD-A40D098F0A2D}" srcOrd="2" destOrd="0" parTransId="{41DD2783-6266-437F-A4D4-F3E889AF1E82}" sibTransId="{E366CCDC-AC89-4D6C-B880-8692EB04608A}"/>
    <dgm:cxn modelId="{AB5FCCDF-200C-4E85-9DDF-5364FD8F6A61}" type="presOf" srcId="{F7034360-0D1B-4DEF-9925-995AAE30DCF5}" destId="{0149BFF9-DEAF-43F5-8A10-42F8E832DAEE}" srcOrd="0" destOrd="0" presId="urn:microsoft.com/office/officeart/2005/8/layout/process3"/>
    <dgm:cxn modelId="{253D87E3-84A6-4C41-B199-AC04A3BEF73A}" type="presOf" srcId="{6AEB3B8E-6085-4930-8EAD-A40D098F0A2D}" destId="{AF5E59BF-5EC4-4AC5-B74F-A2D3D505DE54}" srcOrd="1" destOrd="0" presId="urn:microsoft.com/office/officeart/2005/8/layout/process3"/>
    <dgm:cxn modelId="{3A55CDE9-60EE-49E9-8C80-703F3F7327C1}" type="presOf" srcId="{62FAEBCF-6220-4096-BD1A-6158A9B0B9DE}" destId="{ECA99AFA-5AE4-443E-90C4-878498679854}" srcOrd="0" destOrd="2" presId="urn:microsoft.com/office/officeart/2005/8/layout/process3"/>
    <dgm:cxn modelId="{73AFFEEA-525C-44B0-A439-B14B7E151EA4}" type="presOf" srcId="{F7034360-0D1B-4DEF-9925-995AAE30DCF5}" destId="{3E5111AF-BAEB-474A-B937-D1689A6DFA0E}" srcOrd="1" destOrd="0" presId="urn:microsoft.com/office/officeart/2005/8/layout/process3"/>
    <dgm:cxn modelId="{E647FFEA-11F5-4FD3-B4B1-2F8D71ED96AF}" srcId="{80E9B23A-736F-4477-A5E7-F107C2C4FA35}" destId="{94137826-5061-4FD7-8140-4234D30C6330}" srcOrd="0" destOrd="0" parTransId="{B90FA57D-6AF7-405C-8014-C6958942152E}" sibTransId="{38668EE8-683D-4F65-BA2E-5B9C0DDD36AC}"/>
    <dgm:cxn modelId="{E8F8B3EE-3AE1-4774-A7B3-D073A9C78EBA}" srcId="{80E9B23A-736F-4477-A5E7-F107C2C4FA35}" destId="{E39C3594-C396-449E-836C-186EFE5EAF48}" srcOrd="3" destOrd="0" parTransId="{0D831D40-9F69-4A04-8EC2-BFA71D505096}" sibTransId="{AC9EF6E9-BC66-4847-B998-5C234BAE6418}"/>
    <dgm:cxn modelId="{2FDCC6EF-6345-4B9D-95BF-9D67915E60BF}" type="presOf" srcId="{BA706019-0FED-45EF-823B-2CC8EC1102EB}" destId="{33AA523E-9AFD-4DB6-A567-7008616146A0}" srcOrd="0" destOrd="0" presId="urn:microsoft.com/office/officeart/2005/8/layout/process3"/>
    <dgm:cxn modelId="{346B95FE-521C-43E9-9EE0-993496CA0DCD}" type="presOf" srcId="{80E9B23A-736F-4477-A5E7-F107C2C4FA35}" destId="{9F9479FC-4AC2-4170-B522-D4DD312DCC6F}" srcOrd="1" destOrd="0" presId="urn:microsoft.com/office/officeart/2005/8/layout/process3"/>
    <dgm:cxn modelId="{1D341115-7C23-4EE1-B2D8-625B1FCB5CE5}" type="presParOf" srcId="{50BDF5D7-096B-44B2-8AAE-89A96D42BAFB}" destId="{FD33C897-4DE9-496F-A94F-0B7BBECAC31D}" srcOrd="0" destOrd="0" presId="urn:microsoft.com/office/officeart/2005/8/layout/process3"/>
    <dgm:cxn modelId="{4E220457-3A05-447F-B773-262ECB2FD670}" type="presParOf" srcId="{FD33C897-4DE9-496F-A94F-0B7BBECAC31D}" destId="{CAC3802E-2FA8-483A-A828-33249CC33BEE}" srcOrd="0" destOrd="0" presId="urn:microsoft.com/office/officeart/2005/8/layout/process3"/>
    <dgm:cxn modelId="{DD9736F8-D0CF-4712-92A9-1459531128AA}" type="presParOf" srcId="{FD33C897-4DE9-496F-A94F-0B7BBECAC31D}" destId="{9F9479FC-4AC2-4170-B522-D4DD312DCC6F}" srcOrd="1" destOrd="0" presId="urn:microsoft.com/office/officeart/2005/8/layout/process3"/>
    <dgm:cxn modelId="{F2CF32ED-95C9-4C2D-8517-74587ED03F81}" type="presParOf" srcId="{FD33C897-4DE9-496F-A94F-0B7BBECAC31D}" destId="{60FD9227-B90B-49A1-ACA0-E3F65999D178}" srcOrd="2" destOrd="0" presId="urn:microsoft.com/office/officeart/2005/8/layout/process3"/>
    <dgm:cxn modelId="{1942E005-7913-4D63-A4DD-0E158E6A550B}" type="presParOf" srcId="{50BDF5D7-096B-44B2-8AAE-89A96D42BAFB}" destId="{0149BFF9-DEAF-43F5-8A10-42F8E832DAEE}" srcOrd="1" destOrd="0" presId="urn:microsoft.com/office/officeart/2005/8/layout/process3"/>
    <dgm:cxn modelId="{E08CBE74-C46D-45D2-B8B4-626956F4FF0F}" type="presParOf" srcId="{0149BFF9-DEAF-43F5-8A10-42F8E832DAEE}" destId="{3E5111AF-BAEB-474A-B937-D1689A6DFA0E}" srcOrd="0" destOrd="0" presId="urn:microsoft.com/office/officeart/2005/8/layout/process3"/>
    <dgm:cxn modelId="{42722185-EA67-4060-882D-56E3066A9B7E}" type="presParOf" srcId="{50BDF5D7-096B-44B2-8AAE-89A96D42BAFB}" destId="{602507A6-9863-4951-A249-2E1D1B9A7615}" srcOrd="2" destOrd="0" presId="urn:microsoft.com/office/officeart/2005/8/layout/process3"/>
    <dgm:cxn modelId="{6BECA42F-421E-44B9-BD74-D945F99CEBB5}" type="presParOf" srcId="{602507A6-9863-4951-A249-2E1D1B9A7615}" destId="{868B7B65-784B-4B8B-BDE2-8BBD0981842B}" srcOrd="0" destOrd="0" presId="urn:microsoft.com/office/officeart/2005/8/layout/process3"/>
    <dgm:cxn modelId="{05DF0909-A21B-4138-87EB-2BDD8F681E46}" type="presParOf" srcId="{602507A6-9863-4951-A249-2E1D1B9A7615}" destId="{9DD215C1-551C-45E6-A353-52630CE78BC5}" srcOrd="1" destOrd="0" presId="urn:microsoft.com/office/officeart/2005/8/layout/process3"/>
    <dgm:cxn modelId="{C23017C6-3134-4C72-8370-024FEBB3F235}" type="presParOf" srcId="{602507A6-9863-4951-A249-2E1D1B9A7615}" destId="{ECA99AFA-5AE4-443E-90C4-878498679854}" srcOrd="2" destOrd="0" presId="urn:microsoft.com/office/officeart/2005/8/layout/process3"/>
    <dgm:cxn modelId="{50533E61-3239-4E6E-9369-2151D8345C5C}" type="presParOf" srcId="{50BDF5D7-096B-44B2-8AAE-89A96D42BAFB}" destId="{ABAED110-A623-4CDD-8669-824A79FC0842}" srcOrd="3" destOrd="0" presId="urn:microsoft.com/office/officeart/2005/8/layout/process3"/>
    <dgm:cxn modelId="{46886828-F75C-418A-80C1-7F6B83109C51}" type="presParOf" srcId="{ABAED110-A623-4CDD-8669-824A79FC0842}" destId="{5EBB6F5B-7CC5-4FA0-B0AF-EE2D8F06013A}" srcOrd="0" destOrd="0" presId="urn:microsoft.com/office/officeart/2005/8/layout/process3"/>
    <dgm:cxn modelId="{C8EEA70A-8DDC-404D-9D19-8503A1AF98E2}" type="presParOf" srcId="{50BDF5D7-096B-44B2-8AAE-89A96D42BAFB}" destId="{2A285EBF-216C-4E0A-80C4-C46B08DB8731}" srcOrd="4" destOrd="0" presId="urn:microsoft.com/office/officeart/2005/8/layout/process3"/>
    <dgm:cxn modelId="{D457B1C9-0D82-4A74-AA35-3C1EE1A6D45C}" type="presParOf" srcId="{2A285EBF-216C-4E0A-80C4-C46B08DB8731}" destId="{D5CBC4E0-3615-45D9-877F-45DA4E1F48DA}" srcOrd="0" destOrd="0" presId="urn:microsoft.com/office/officeart/2005/8/layout/process3"/>
    <dgm:cxn modelId="{E35B154A-9BC2-40E3-9E90-CFB49E05645C}" type="presParOf" srcId="{2A285EBF-216C-4E0A-80C4-C46B08DB8731}" destId="{AF5E59BF-5EC4-4AC5-B74F-A2D3D505DE54}" srcOrd="1" destOrd="0" presId="urn:microsoft.com/office/officeart/2005/8/layout/process3"/>
    <dgm:cxn modelId="{D4A39FE4-8D65-47E0-B5CC-BC60F10C315E}" type="presParOf" srcId="{2A285EBF-216C-4E0A-80C4-C46B08DB8731}" destId="{33AA523E-9AFD-4DB6-A567-7008616146A0}" srcOrd="2" destOrd="0" presId="urn:microsoft.com/office/officeart/2005/8/layout/process3"/>
    <dgm:cxn modelId="{53AFC006-9053-4EB4-AA69-47F860EFB96C}" type="presParOf" srcId="{50BDF5D7-096B-44B2-8AAE-89A96D42BAFB}" destId="{6A4CF50C-F286-4FB0-A336-80F226E49EAB}" srcOrd="5" destOrd="0" presId="urn:microsoft.com/office/officeart/2005/8/layout/process3"/>
    <dgm:cxn modelId="{DF696F3E-9CD7-4717-B8E0-15350174D76B}" type="presParOf" srcId="{6A4CF50C-F286-4FB0-A336-80F226E49EAB}" destId="{CBBE62D4-8B94-42D9-BDCE-32315E0D6758}" srcOrd="0" destOrd="0" presId="urn:microsoft.com/office/officeart/2005/8/layout/process3"/>
    <dgm:cxn modelId="{089ED0F2-613C-4C89-994E-642CF3F18E24}" type="presParOf" srcId="{50BDF5D7-096B-44B2-8AAE-89A96D42BAFB}" destId="{EEC2DF68-38BF-462A-BF23-954DF0E58138}" srcOrd="6" destOrd="0" presId="urn:microsoft.com/office/officeart/2005/8/layout/process3"/>
    <dgm:cxn modelId="{B8BEB9FD-940A-4DE1-823E-DEFB1327A0FD}" type="presParOf" srcId="{EEC2DF68-38BF-462A-BF23-954DF0E58138}" destId="{9FA26B47-FB86-47EB-97FA-0867C871E997}" srcOrd="0" destOrd="0" presId="urn:microsoft.com/office/officeart/2005/8/layout/process3"/>
    <dgm:cxn modelId="{6FE77C42-E963-42AF-858E-BAD7B2EBA1B9}" type="presParOf" srcId="{EEC2DF68-38BF-462A-BF23-954DF0E58138}" destId="{240BEC8F-7E71-4F6E-B148-5476F2DC25C1}" srcOrd="1" destOrd="0" presId="urn:microsoft.com/office/officeart/2005/8/layout/process3"/>
    <dgm:cxn modelId="{CCFAE837-335B-4B07-B8A9-2042377C90E9}" type="presParOf" srcId="{EEC2DF68-38BF-462A-BF23-954DF0E58138}" destId="{E0E4CD74-1F7E-414F-B78B-F8C6A07974F1}" srcOrd="2" destOrd="0" presId="urn:microsoft.com/office/officeart/2005/8/layout/process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68A9181-2E15-4A61-A064-E17022CBED0A}">
      <dsp:nvSpPr>
        <dsp:cNvPr id="0" name=""/>
        <dsp:cNvSpPr/>
      </dsp:nvSpPr>
      <dsp:spPr>
        <a:xfrm>
          <a:off x="0" y="20538"/>
          <a:ext cx="4654929" cy="767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3200" kern="1200"/>
            <a:t>Objectives</a:t>
          </a:r>
        </a:p>
      </dsp:txBody>
      <dsp:txXfrm>
        <a:off x="37467" y="58005"/>
        <a:ext cx="4579995" cy="692586"/>
      </dsp:txXfrm>
    </dsp:sp>
    <dsp:sp modelId="{7FCC586D-59BF-4A95-AC7A-D2E32F910C66}">
      <dsp:nvSpPr>
        <dsp:cNvPr id="0" name=""/>
        <dsp:cNvSpPr/>
      </dsp:nvSpPr>
      <dsp:spPr>
        <a:xfrm>
          <a:off x="0" y="880218"/>
          <a:ext cx="4654929" cy="767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3200" kern="1200"/>
            <a:t>Data source</a:t>
          </a:r>
        </a:p>
      </dsp:txBody>
      <dsp:txXfrm>
        <a:off x="37467" y="917685"/>
        <a:ext cx="4579995" cy="692586"/>
      </dsp:txXfrm>
    </dsp:sp>
    <dsp:sp modelId="{0E5B472F-74E8-4245-A014-DA195F94D54D}">
      <dsp:nvSpPr>
        <dsp:cNvPr id="0" name=""/>
        <dsp:cNvSpPr/>
      </dsp:nvSpPr>
      <dsp:spPr>
        <a:xfrm>
          <a:off x="0" y="1739898"/>
          <a:ext cx="4654929" cy="767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3200" kern="1200"/>
            <a:t>Methodology</a:t>
          </a:r>
        </a:p>
      </dsp:txBody>
      <dsp:txXfrm>
        <a:off x="37467" y="1777365"/>
        <a:ext cx="4579995" cy="692586"/>
      </dsp:txXfrm>
    </dsp:sp>
    <dsp:sp modelId="{A4F17D58-7D9B-4688-9E82-932527F3CFF1}">
      <dsp:nvSpPr>
        <dsp:cNvPr id="0" name=""/>
        <dsp:cNvSpPr/>
      </dsp:nvSpPr>
      <dsp:spPr>
        <a:xfrm>
          <a:off x="0" y="2599578"/>
          <a:ext cx="4654929" cy="767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3200" kern="1200"/>
            <a:t>Results</a:t>
          </a:r>
        </a:p>
      </dsp:txBody>
      <dsp:txXfrm>
        <a:off x="37467" y="2637045"/>
        <a:ext cx="4579995" cy="692586"/>
      </dsp:txXfrm>
    </dsp:sp>
    <dsp:sp modelId="{6A727186-E822-4E7C-88D8-02FE9CC0143E}">
      <dsp:nvSpPr>
        <dsp:cNvPr id="0" name=""/>
        <dsp:cNvSpPr/>
      </dsp:nvSpPr>
      <dsp:spPr>
        <a:xfrm>
          <a:off x="0" y="3459258"/>
          <a:ext cx="4654929" cy="767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3200" kern="1200"/>
            <a:t>Summary</a:t>
          </a:r>
        </a:p>
      </dsp:txBody>
      <dsp:txXfrm>
        <a:off x="37467" y="3496725"/>
        <a:ext cx="4579995" cy="69258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4818C81-82BD-4A7E-A150-6B01DE2493C5}">
      <dsp:nvSpPr>
        <dsp:cNvPr id="0" name=""/>
        <dsp:cNvSpPr/>
      </dsp:nvSpPr>
      <dsp:spPr>
        <a:xfrm rot="10800000">
          <a:off x="1737697" y="2526"/>
          <a:ext cx="5405120" cy="1505029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63676" tIns="118110" rIns="220472" bIns="118110" numCol="1" spcCol="1270" anchor="ctr" anchorCtr="0">
          <a:noAutofit/>
        </a:bodyPr>
        <a:lstStyle/>
        <a:p>
          <a:pPr marL="0" lvl="0" indent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3100" kern="1200" dirty="0"/>
            <a:t>Determine factors that contribute towards churn</a:t>
          </a:r>
        </a:p>
      </dsp:txBody>
      <dsp:txXfrm rot="10800000">
        <a:off x="2113954" y="2526"/>
        <a:ext cx="5028863" cy="1505029"/>
      </dsp:txXfrm>
    </dsp:sp>
    <dsp:sp modelId="{A142F44E-FB51-49F8-8CD1-EB41D6C7A614}">
      <dsp:nvSpPr>
        <dsp:cNvPr id="0" name=""/>
        <dsp:cNvSpPr/>
      </dsp:nvSpPr>
      <dsp:spPr>
        <a:xfrm>
          <a:off x="985182" y="2526"/>
          <a:ext cx="1505029" cy="1505029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2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47049DB-A015-4BCE-8377-E830602AAB86}">
      <dsp:nvSpPr>
        <dsp:cNvPr id="0" name=""/>
        <dsp:cNvSpPr/>
      </dsp:nvSpPr>
      <dsp:spPr>
        <a:xfrm rot="10800000">
          <a:off x="1737697" y="1956818"/>
          <a:ext cx="5405120" cy="1505029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63676" tIns="118110" rIns="220472" bIns="118110" numCol="1" spcCol="1270" anchor="ctr" anchorCtr="0">
          <a:noAutofit/>
        </a:bodyPr>
        <a:lstStyle/>
        <a:p>
          <a:pPr marL="0" lvl="0" indent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3100" kern="1200" dirty="0"/>
            <a:t>Predict churn probability</a:t>
          </a:r>
        </a:p>
      </dsp:txBody>
      <dsp:txXfrm rot="10800000">
        <a:off x="2113954" y="1956818"/>
        <a:ext cx="5028863" cy="1505029"/>
      </dsp:txXfrm>
    </dsp:sp>
    <dsp:sp modelId="{7ECFA6A0-EBD0-4F2B-BA65-842BF1EB482B}">
      <dsp:nvSpPr>
        <dsp:cNvPr id="0" name=""/>
        <dsp:cNvSpPr/>
      </dsp:nvSpPr>
      <dsp:spPr>
        <a:xfrm>
          <a:off x="985182" y="1956818"/>
          <a:ext cx="1505029" cy="1505029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rcRect/>
          <a:stretch>
            <a:fillRect l="-22000" r="-22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E3F0689-1487-49B0-9B93-25211426421E}">
      <dsp:nvSpPr>
        <dsp:cNvPr id="0" name=""/>
        <dsp:cNvSpPr/>
      </dsp:nvSpPr>
      <dsp:spPr>
        <a:xfrm rot="10800000">
          <a:off x="1737697" y="3911110"/>
          <a:ext cx="5405120" cy="1505029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63676" tIns="118110" rIns="220472" bIns="118110" numCol="1" spcCol="1270" anchor="ctr" anchorCtr="0">
          <a:noAutofit/>
        </a:bodyPr>
        <a:lstStyle/>
        <a:p>
          <a:pPr marL="0" lvl="0" indent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3100" kern="1200" dirty="0"/>
            <a:t>Identify initiatives that could reduce churn</a:t>
          </a:r>
        </a:p>
      </dsp:txBody>
      <dsp:txXfrm rot="10800000">
        <a:off x="2113954" y="3911110"/>
        <a:ext cx="5028863" cy="1505029"/>
      </dsp:txXfrm>
    </dsp:sp>
    <dsp:sp modelId="{85611801-0FD3-4919-8F8B-88103C22D9AF}">
      <dsp:nvSpPr>
        <dsp:cNvPr id="0" name=""/>
        <dsp:cNvSpPr/>
      </dsp:nvSpPr>
      <dsp:spPr>
        <a:xfrm>
          <a:off x="985182" y="3911110"/>
          <a:ext cx="1505029" cy="1505029"/>
        </a:xfrm>
        <a:prstGeom prst="ellipse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6"/>
              </a:ext>
            </a:extLst>
          </a:blip>
          <a:srcRect/>
          <a:stretch>
            <a:fillRect l="-39000" r="-39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D48554D-D78C-4C5F-A3EF-6BCFAFB0DCB5}">
      <dsp:nvSpPr>
        <dsp:cNvPr id="0" name=""/>
        <dsp:cNvSpPr/>
      </dsp:nvSpPr>
      <dsp:spPr>
        <a:xfrm>
          <a:off x="0" y="796450"/>
          <a:ext cx="8128000" cy="457852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0823" tIns="1062228" rIns="630823" bIns="362712" numCol="1" spcCol="1270" anchor="t" anchorCtr="0">
          <a:noAutofit/>
        </a:bodyPr>
        <a:lstStyle/>
        <a:p>
          <a:pPr marL="285750" lvl="1" indent="-285750" algn="l" defTabSz="2266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5100" kern="1200" dirty="0"/>
            <a:t>7043 rows</a:t>
          </a:r>
        </a:p>
        <a:p>
          <a:pPr marL="285750" lvl="1" indent="-285750" algn="l" defTabSz="2266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5100" kern="1200" dirty="0"/>
            <a:t>21 features</a:t>
          </a:r>
        </a:p>
        <a:p>
          <a:pPr marL="285750" lvl="1" indent="-285750" algn="l" defTabSz="2266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5100" kern="1200" dirty="0"/>
            <a:t>Primary feature – Churn (yes/no)</a:t>
          </a:r>
        </a:p>
      </dsp:txBody>
      <dsp:txXfrm>
        <a:off x="0" y="796450"/>
        <a:ext cx="8128000" cy="4578525"/>
      </dsp:txXfrm>
    </dsp:sp>
    <dsp:sp modelId="{AC3ED61E-DD5A-455A-AD73-E6EC6B7C578A}">
      <dsp:nvSpPr>
        <dsp:cNvPr id="0" name=""/>
        <dsp:cNvSpPr/>
      </dsp:nvSpPr>
      <dsp:spPr>
        <a:xfrm>
          <a:off x="406400" y="43690"/>
          <a:ext cx="5689600" cy="1505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2266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5100" kern="1200" dirty="0"/>
            <a:t>Customer records</a:t>
          </a:r>
        </a:p>
      </dsp:txBody>
      <dsp:txXfrm>
        <a:off x="479893" y="117183"/>
        <a:ext cx="5542614" cy="1358534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F9479FC-4AC2-4170-B522-D4DD312DCC6F}">
      <dsp:nvSpPr>
        <dsp:cNvPr id="0" name=""/>
        <dsp:cNvSpPr/>
      </dsp:nvSpPr>
      <dsp:spPr>
        <a:xfrm>
          <a:off x="1073" y="1287918"/>
          <a:ext cx="1348918" cy="70024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200" kern="1200" dirty="0"/>
            <a:t>Prepare data</a:t>
          </a:r>
        </a:p>
      </dsp:txBody>
      <dsp:txXfrm>
        <a:off x="1073" y="1287918"/>
        <a:ext cx="1348918" cy="466829"/>
      </dsp:txXfrm>
    </dsp:sp>
    <dsp:sp modelId="{60FD9227-B90B-49A1-ACA0-E3F65999D178}">
      <dsp:nvSpPr>
        <dsp:cNvPr id="0" name=""/>
        <dsp:cNvSpPr/>
      </dsp:nvSpPr>
      <dsp:spPr>
        <a:xfrm>
          <a:off x="277357" y="1754748"/>
          <a:ext cx="1348918" cy="23760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1200" kern="1200" dirty="0"/>
            <a:t>Remove rows with invalid feature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1200" kern="1200" dirty="0"/>
            <a:t>Remove redundant feature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1200" kern="1200" dirty="0"/>
            <a:t>Bin continuous feature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1200" kern="1200" dirty="0"/>
            <a:t>“One-hot” encode categorical features</a:t>
          </a:r>
        </a:p>
      </dsp:txBody>
      <dsp:txXfrm>
        <a:off x="316865" y="1794256"/>
        <a:ext cx="1269902" cy="2296984"/>
      </dsp:txXfrm>
    </dsp:sp>
    <dsp:sp modelId="{0149BFF9-DEAF-43F5-8A10-42F8E832DAEE}">
      <dsp:nvSpPr>
        <dsp:cNvPr id="0" name=""/>
        <dsp:cNvSpPr/>
      </dsp:nvSpPr>
      <dsp:spPr>
        <a:xfrm>
          <a:off x="1554483" y="1353412"/>
          <a:ext cx="433521" cy="33584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ZA" sz="1000" kern="1200"/>
        </a:p>
      </dsp:txBody>
      <dsp:txXfrm>
        <a:off x="1554483" y="1420580"/>
        <a:ext cx="332769" cy="201505"/>
      </dsp:txXfrm>
    </dsp:sp>
    <dsp:sp modelId="{9DD215C1-551C-45E6-A353-52630CE78BC5}">
      <dsp:nvSpPr>
        <dsp:cNvPr id="0" name=""/>
        <dsp:cNvSpPr/>
      </dsp:nvSpPr>
      <dsp:spPr>
        <a:xfrm>
          <a:off x="2167956" y="1287918"/>
          <a:ext cx="1348918" cy="70024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200" kern="1200" dirty="0"/>
            <a:t>Build candidate models</a:t>
          </a:r>
        </a:p>
      </dsp:txBody>
      <dsp:txXfrm>
        <a:off x="2167956" y="1287918"/>
        <a:ext cx="1348918" cy="466829"/>
      </dsp:txXfrm>
    </dsp:sp>
    <dsp:sp modelId="{ECA99AFA-5AE4-443E-90C4-878498679854}">
      <dsp:nvSpPr>
        <dsp:cNvPr id="0" name=""/>
        <dsp:cNvSpPr/>
      </dsp:nvSpPr>
      <dsp:spPr>
        <a:xfrm>
          <a:off x="2444241" y="1754748"/>
          <a:ext cx="1348918" cy="23760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1200" kern="1200" dirty="0"/>
            <a:t>Logistic regression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1200" kern="1200" dirty="0"/>
            <a:t>Extreme gradient boosting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1200" kern="1200" dirty="0"/>
            <a:t>Multilayer perceptron (Artificial neural network)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1200" kern="1200" dirty="0"/>
            <a:t>Random forest</a:t>
          </a:r>
        </a:p>
      </dsp:txBody>
      <dsp:txXfrm>
        <a:off x="2483749" y="1794256"/>
        <a:ext cx="1269902" cy="2296984"/>
      </dsp:txXfrm>
    </dsp:sp>
    <dsp:sp modelId="{ABAED110-A623-4CDD-8669-824A79FC0842}">
      <dsp:nvSpPr>
        <dsp:cNvPr id="0" name=""/>
        <dsp:cNvSpPr/>
      </dsp:nvSpPr>
      <dsp:spPr>
        <a:xfrm>
          <a:off x="3721366" y="1353412"/>
          <a:ext cx="433521" cy="33584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ZA" sz="1000" kern="1200"/>
        </a:p>
      </dsp:txBody>
      <dsp:txXfrm>
        <a:off x="3721366" y="1420580"/>
        <a:ext cx="332769" cy="201505"/>
      </dsp:txXfrm>
    </dsp:sp>
    <dsp:sp modelId="{AF5E59BF-5EC4-4AC5-B74F-A2D3D505DE54}">
      <dsp:nvSpPr>
        <dsp:cNvPr id="0" name=""/>
        <dsp:cNvSpPr/>
      </dsp:nvSpPr>
      <dsp:spPr>
        <a:xfrm>
          <a:off x="4334840" y="1287918"/>
          <a:ext cx="1348918" cy="70024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200" kern="1200" dirty="0"/>
            <a:t>Select best performing model</a:t>
          </a:r>
        </a:p>
      </dsp:txBody>
      <dsp:txXfrm>
        <a:off x="4334840" y="1287918"/>
        <a:ext cx="1348918" cy="466829"/>
      </dsp:txXfrm>
    </dsp:sp>
    <dsp:sp modelId="{33AA523E-9AFD-4DB6-A567-7008616146A0}">
      <dsp:nvSpPr>
        <dsp:cNvPr id="0" name=""/>
        <dsp:cNvSpPr/>
      </dsp:nvSpPr>
      <dsp:spPr>
        <a:xfrm>
          <a:off x="4611124" y="1754748"/>
          <a:ext cx="1348918" cy="23760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1200" kern="1200" dirty="0"/>
            <a:t>Evaluate each model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1200" kern="1200" dirty="0"/>
            <a:t>Select model that returns the fewest false positives</a:t>
          </a:r>
        </a:p>
      </dsp:txBody>
      <dsp:txXfrm>
        <a:off x="4650632" y="1794256"/>
        <a:ext cx="1269902" cy="2296984"/>
      </dsp:txXfrm>
    </dsp:sp>
    <dsp:sp modelId="{6A4CF50C-F286-4FB0-A336-80F226E49EAB}">
      <dsp:nvSpPr>
        <dsp:cNvPr id="0" name=""/>
        <dsp:cNvSpPr/>
      </dsp:nvSpPr>
      <dsp:spPr>
        <a:xfrm>
          <a:off x="5888249" y="1353412"/>
          <a:ext cx="433521" cy="33584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ZA" sz="1000" kern="1200"/>
        </a:p>
      </dsp:txBody>
      <dsp:txXfrm>
        <a:off x="5888249" y="1420580"/>
        <a:ext cx="332769" cy="201505"/>
      </dsp:txXfrm>
    </dsp:sp>
    <dsp:sp modelId="{240BEC8F-7E71-4F6E-B148-5476F2DC25C1}">
      <dsp:nvSpPr>
        <dsp:cNvPr id="0" name=""/>
        <dsp:cNvSpPr/>
      </dsp:nvSpPr>
      <dsp:spPr>
        <a:xfrm>
          <a:off x="6501723" y="1287918"/>
          <a:ext cx="1348918" cy="70024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200" kern="1200" dirty="0"/>
            <a:t>Analyse variables</a:t>
          </a:r>
        </a:p>
      </dsp:txBody>
      <dsp:txXfrm>
        <a:off x="6501723" y="1287918"/>
        <a:ext cx="1348918" cy="466829"/>
      </dsp:txXfrm>
    </dsp:sp>
    <dsp:sp modelId="{E0E4CD74-1F7E-414F-B78B-F8C6A07974F1}">
      <dsp:nvSpPr>
        <dsp:cNvPr id="0" name=""/>
        <dsp:cNvSpPr/>
      </dsp:nvSpPr>
      <dsp:spPr>
        <a:xfrm>
          <a:off x="6778007" y="1754748"/>
          <a:ext cx="1348918" cy="23760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1200" kern="1200" dirty="0"/>
            <a:t>Use variable importance to suggest initiatives that can reduce churn</a:t>
          </a:r>
        </a:p>
      </dsp:txBody>
      <dsp:txXfrm>
        <a:off x="6817515" y="1794256"/>
        <a:ext cx="1269902" cy="229698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rocess3">
  <dgm:title val=""/>
  <dgm:desc val=""/>
  <dgm:catLst>
    <dgm:cat type="process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3" destOrd="0"/>
        <dgm:cxn modelId="12" srcId="1" destId="11" srcOrd="0" destOrd="0"/>
        <dgm:cxn modelId="23" srcId="2" destId="21" srcOrd="0" destOrd="0"/>
        <dgm:cxn modelId="34" srcId="3" destId="3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fact="0.3333"/>
      <dgm:constr type="w" for="des" forName="parTx"/>
      <dgm:constr type="h" for="des" forName="parTx" op="equ"/>
      <dgm:constr type="h" for="des" forName="parSh" op="equ"/>
      <dgm:constr type="w" for="des" forName="desTx"/>
      <dgm:constr type="h" for="des" forName="desTx" op="equ"/>
      <dgm:constr type="w" for="des" forName="parSh"/>
      <dgm:constr type="primFontSz" for="des" forName="parTx" val="65"/>
      <dgm:constr type="secFontSz" for="des" forName="desTx" refType="primFontSz" refFor="des" refForName="parTx" op="equ"/>
      <dgm:constr type="primFontSz" for="des" forName="connTx" refType="primFontSz" refFor="des" refForName="parTx" fact="0.8"/>
      <dgm:constr type="primFontSz" for="des" forName="connTx" refType="primFontSz" refFor="des" refForName="parTx" op="lte" fact="0.8"/>
      <dgm:constr type="h" for="des" forName="parTx" refType="primFontSz" refFor="des" refForName="parTx" fact="0.8"/>
      <dgm:constr type="h" for="des" forName="parSh" refType="primFontSz" refFor="des" refForName="parTx" fact="1.2"/>
      <dgm:constr type="h" for="des" forName="desTx" refType="primFontSz" refFor="des" refForName="parTx" fact="1.6"/>
      <dgm:constr type="h" for="des" forName="parSh" refType="h" refFor="des" refForName="parTx" op="lte" fact="1.5"/>
      <dgm:constr type="h" for="des" forName="parSh" refType="h" refFor="des" refForName="parTx" op="gte" fact="1.5"/>
    </dgm:constrLst>
    <dgm:ruleLst>
      <dgm:rule type="w" for="ch" forName="composite" val="0" fact="NaN" max="NaN"/>
      <dgm:rule type="primFontSz" for="des" forName="parTx" val="5" fact="NaN" max="NaN"/>
    </dgm:ruleLst>
    <dgm:forEach name="Name3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func="var" arg="dir" op="equ" val="norm">
            <dgm:constrLst>
              <dgm:constr type="h" refType="w" fact="1000"/>
              <dgm:constr type="l" for="ch" forName="parTx"/>
              <dgm:constr type="w" for="ch" forName="parTx" refType="w" fact="0.83"/>
              <dgm:constr type="t" for="ch" forName="parTx"/>
              <dgm:constr type="l" for="ch" forName="parSh"/>
              <dgm:constr type="w" for="ch" forName="parSh" refType="w" refFor="ch" refForName="parTx"/>
              <dgm:constr type="t" for="ch" forName="parSh"/>
              <dgm:constr type="l" for="ch" forName="desTx" refType="w" fact="0.17"/>
              <dgm:constr type="w" for="ch" forName="desTx" refType="w" refFor="ch" refForName="parTx"/>
              <dgm:constr type="t" for="ch" forName="desTx" refType="h" refFor="ch" refForName="parTx"/>
            </dgm:constrLst>
          </dgm:if>
          <dgm:else name="Name6">
            <dgm:constrLst>
              <dgm:constr type="h" refType="w" fact="1000"/>
              <dgm:constr type="l" for="ch" forName="parTx" refType="w" fact="0.17"/>
              <dgm:constr type="w" for="ch" forName="parTx" refType="w" fact="0.83"/>
              <dgm:constr type="t" for="ch" forName="parTx"/>
              <dgm:constr type="l" for="ch" forName="parSh" refType="w" fact="0.15"/>
              <dgm:constr type="w" for="ch" forName="parSh" refType="w" refFor="ch" refForName="parTx"/>
              <dgm:constr type="t" for="ch" forName="parSh"/>
              <dgm:constr type="l" for="ch" forName="desTx"/>
              <dgm:constr type="w" for="ch" forName="desTx" refType="w" refFor="ch" refForName="parTx"/>
              <dgm:constr type="t" for="ch" forName="desTx" refType="h" refFor="ch" refForName="parTx"/>
            </dgm:constrLst>
          </dgm:else>
        </dgm:choose>
        <dgm:ruleLst>
          <dgm:rule type="h" val="INF" fact="NaN" max="NaN"/>
        </dgm:ruleLst>
        <dgm:layoutNode name="parTx">
          <dgm:varLst>
            <dgm:chMax val="0"/>
            <dgm:chPref val="0"/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1" hideGeom="1">
            <dgm:adjLst>
              <dgm:adj idx="1" val="0.1"/>
            </dgm:adjLst>
          </dgm:shape>
          <dgm:presOf axis="self" ptType="node"/>
          <dgm:constrLst>
            <dgm:constr type="h" refType="w" op="lte" fact="0.4"/>
            <dgm:constr type="bMarg" refType="primFontSz" fact="0.3"/>
            <dgm:constr type="h"/>
          </dgm:constrLst>
          <dgm:ruleLst>
            <dgm:rule type="h" val="INF" fact="NaN" max="NaN"/>
          </dgm:ruleLst>
        </dgm:layoutNode>
        <dgm:layoutNode name="parSh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 ptType="node"/>
          <dgm:constrLst>
            <dgm:constr type="h"/>
          </dgm:constrLst>
          <dgm:ruleLst/>
        </dgm:layoutNode>
        <dgm:layoutNode name="desTx" styleLbl="f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Rect" r:blip="">
            <dgm:adjLst>
              <dgm:adj idx="1" val="0.1"/>
            </dgm:adjLst>
          </dgm:shape>
          <dgm:presOf axis="des" ptType="node"/>
          <dgm:constrLst>
            <dgm:constr type="secFontSz" val="65"/>
            <dgm:constr type="primFontSz" refType="secFontSz"/>
            <dgm:constr type="h"/>
          </dgm:constrLst>
          <dgm:ruleLst>
            <dgm:rule type="h" val="INF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parTx"/>
            <dgm:param type="dstNode" val="parTx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FE6697D-3EB9-4947-8C4B-5F1F4C3EC06B}" type="datetimeFigureOut">
              <a:rPr lang="en-US" smtClean="0"/>
              <a:t>8/17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010278-BD13-7A4B-A37C-BDD2E1B482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44846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1909769"/>
            <a:ext cx="103632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 b="1"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II: Presentation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4389439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aseline="0"/>
            </a:lvl1pPr>
            <a:lvl2pPr marL="457139" indent="0" algn="ctr">
              <a:buNone/>
              <a:defRPr sz="2000"/>
            </a:lvl2pPr>
            <a:lvl3pPr marL="914283" indent="0" algn="ctr">
              <a:buNone/>
              <a:defRPr sz="1801"/>
            </a:lvl3pPr>
            <a:lvl4pPr marL="1371422" indent="0" algn="ctr">
              <a:buNone/>
              <a:defRPr sz="1600"/>
            </a:lvl4pPr>
            <a:lvl5pPr marL="1828561" indent="0" algn="ctr">
              <a:buNone/>
              <a:defRPr sz="1600"/>
            </a:lvl5pPr>
            <a:lvl6pPr marL="2285702" indent="0" algn="ctr">
              <a:buNone/>
              <a:defRPr sz="1600"/>
            </a:lvl6pPr>
            <a:lvl7pPr marL="2742844" indent="0" algn="ctr">
              <a:buNone/>
              <a:defRPr sz="1600"/>
            </a:lvl7pPr>
            <a:lvl8pPr marL="3199982" indent="0" algn="ctr">
              <a:buNone/>
              <a:defRPr sz="1600"/>
            </a:lvl8pPr>
            <a:lvl9pPr marL="3657120" indent="0" algn="ctr">
              <a:buNone/>
              <a:defRPr sz="1600"/>
            </a:lvl9pPr>
          </a:lstStyle>
          <a:p>
            <a:r>
              <a:rPr lang="en-US" dirty="0"/>
              <a:t>Month YYYY version 1.0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33298" y="1481667"/>
            <a:ext cx="3694065" cy="919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21257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5018" y="985452"/>
            <a:ext cx="2499944" cy="55677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 baseline="0">
                <a:solidFill>
                  <a:schemeClr val="tx1"/>
                </a:solidFill>
              </a:defRPr>
            </a:lvl1pPr>
            <a:lvl2pPr marL="45713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83" indent="0">
              <a:buNone/>
              <a:defRPr sz="1801">
                <a:solidFill>
                  <a:schemeClr val="tx1">
                    <a:tint val="75000"/>
                  </a:schemeClr>
                </a:solidFill>
              </a:defRPr>
            </a:lvl3pPr>
            <a:lvl4pPr marL="13714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56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70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84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9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1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235018" y="611821"/>
            <a:ext cx="11548010" cy="163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80102" y="231895"/>
            <a:ext cx="1911897" cy="47585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35018" y="141491"/>
            <a:ext cx="10363200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en-US" sz="2800" b="1" dirty="0">
                <a:solidFill>
                  <a:srgbClr val="002060"/>
                </a:solidFill>
                <a:ea typeface="+mn-ea"/>
                <a:cs typeface="+mn-cs"/>
              </a:defRPr>
            </a:lvl1pPr>
          </a:lstStyle>
          <a:p>
            <a:pPr marL="0" lvl="0" defTabSz="914331"/>
            <a:r>
              <a:rPr lang="en-US" dirty="0"/>
              <a:t>CII: Presentation Nam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2874963" y="985838"/>
            <a:ext cx="9053512" cy="5567362"/>
          </a:xfrm>
          <a:prstGeom prst="rect">
            <a:avLst/>
          </a:prstGeom>
        </p:spPr>
        <p:txBody>
          <a:bodyPr/>
          <a:lstStyle/>
          <a:p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7334185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>
            <a:off x="235018" y="611821"/>
            <a:ext cx="11548010" cy="163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80102" y="231895"/>
            <a:ext cx="1911897" cy="47585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35018" y="141491"/>
            <a:ext cx="10363200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en-US" sz="2800" b="1" dirty="0">
                <a:solidFill>
                  <a:srgbClr val="002060"/>
                </a:solidFill>
                <a:ea typeface="+mn-ea"/>
                <a:cs typeface="+mn-cs"/>
              </a:defRPr>
            </a:lvl1pPr>
          </a:lstStyle>
          <a:p>
            <a:pPr marL="0" lvl="0" defTabSz="914331"/>
            <a:r>
              <a:rPr lang="en-US" dirty="0"/>
              <a:t>CII: Presentation Name</a:t>
            </a:r>
          </a:p>
        </p:txBody>
      </p:sp>
    </p:spTree>
    <p:extLst>
      <p:ext uri="{BB962C8B-B14F-4D97-AF65-F5344CB8AC3E}">
        <p14:creationId xmlns:p14="http://schemas.microsoft.com/office/powerpoint/2010/main" val="2544776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0742350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4"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312027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3" r:id="rId2"/>
    <p:sldLayoutId id="2147483667" r:id="rId3"/>
  </p:sldLayoutIdLst>
  <p:hf hdr="0" ftr="0" dt="0"/>
  <p:txStyles>
    <p:titleStyle>
      <a:lvl1pPr algn="l" defTabSz="914283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71" indent="-228571" algn="l" defTabSz="914283" rtl="0" eaLnBrk="1" latinLnBrk="0" hangingPunct="1">
        <a:lnSpc>
          <a:spcPct val="90000"/>
        </a:lnSpc>
        <a:spcBef>
          <a:spcPts val="1001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+mn-lt"/>
          <a:ea typeface="+mn-ea"/>
          <a:cs typeface="+mn-cs"/>
        </a:defRPr>
      </a:lvl1pPr>
      <a:lvl2pPr marL="685710" indent="-228571" algn="l" defTabSz="914283" rtl="0" eaLnBrk="1" latinLnBrk="0" hangingPunct="1">
        <a:lnSpc>
          <a:spcPct val="90000"/>
        </a:lnSpc>
        <a:spcBef>
          <a:spcPts val="502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51" indent="-228571" algn="l" defTabSz="914283" rtl="0" eaLnBrk="1" latinLnBrk="0" hangingPunct="1">
        <a:lnSpc>
          <a:spcPct val="90000"/>
        </a:lnSpc>
        <a:spcBef>
          <a:spcPts val="502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993" indent="-228571" algn="l" defTabSz="914283" rtl="0" eaLnBrk="1" latinLnBrk="0" hangingPunct="1">
        <a:lnSpc>
          <a:spcPct val="90000"/>
        </a:lnSpc>
        <a:spcBef>
          <a:spcPts val="502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2057129" indent="-228571" algn="l" defTabSz="914283" rtl="0" eaLnBrk="1" latinLnBrk="0" hangingPunct="1">
        <a:lnSpc>
          <a:spcPct val="90000"/>
        </a:lnSpc>
        <a:spcBef>
          <a:spcPts val="502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514271" indent="-228571" algn="l" defTabSz="914283" rtl="0" eaLnBrk="1" latinLnBrk="0" hangingPunct="1">
        <a:lnSpc>
          <a:spcPct val="90000"/>
        </a:lnSpc>
        <a:spcBef>
          <a:spcPts val="502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410" indent="-228571" algn="l" defTabSz="914283" rtl="0" eaLnBrk="1" latinLnBrk="0" hangingPunct="1">
        <a:lnSpc>
          <a:spcPct val="90000"/>
        </a:lnSpc>
        <a:spcBef>
          <a:spcPts val="502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428553" indent="-228571" algn="l" defTabSz="914283" rtl="0" eaLnBrk="1" latinLnBrk="0" hangingPunct="1">
        <a:lnSpc>
          <a:spcPct val="90000"/>
        </a:lnSpc>
        <a:spcBef>
          <a:spcPts val="502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885692" indent="-228571" algn="l" defTabSz="914283" rtl="0" eaLnBrk="1" latinLnBrk="0" hangingPunct="1">
        <a:lnSpc>
          <a:spcPct val="90000"/>
        </a:lnSpc>
        <a:spcBef>
          <a:spcPts val="502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8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139" algn="l" defTabSz="91428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283" algn="l" defTabSz="91428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422" algn="l" defTabSz="91428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561" algn="l" defTabSz="91428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5702" algn="l" defTabSz="91428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2844" algn="l" defTabSz="91428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199982" algn="l" defTabSz="91428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120" algn="l" defTabSz="91428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ZA" dirty="0"/>
              <a:t>Case study (Technical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August 2018</a:t>
            </a:r>
          </a:p>
          <a:p>
            <a:r>
              <a:rPr lang="en-US" dirty="0"/>
              <a:t>Customer churn prediction and analysis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1185951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ZA" dirty="0"/>
              <a:t>Outline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ACFB00C3-B12D-4A8E-9AC9-368B52CB977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04581265"/>
              </p:ext>
            </p:extLst>
          </p:nvPr>
        </p:nvGraphicFramePr>
        <p:xfrm>
          <a:off x="3089153" y="1305341"/>
          <a:ext cx="4654929" cy="42473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930069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F7B409D-013A-40C0-8567-EEB3C09232F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ZA" dirty="0"/>
              <a:t>Objectives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1B8B75CB-5688-4223-BA0F-3BA5DEE0EEA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99388355"/>
              </p:ext>
            </p:extLst>
          </p:nvPr>
        </p:nvGraphicFramePr>
        <p:xfrm>
          <a:off x="2032000" y="71966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1684577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7C876A1-22B7-4C53-8826-A1832AD3D60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ZA" dirty="0"/>
              <a:t>Data source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78324D5C-108B-45E4-AA9F-5358093A92C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51124748"/>
              </p:ext>
            </p:extLst>
          </p:nvPr>
        </p:nvGraphicFramePr>
        <p:xfrm>
          <a:off x="2032000" y="71966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9285217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681864E-DA54-4642-A584-734593E72AB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ZA" dirty="0"/>
              <a:t>Methodology</a:t>
            </a:r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19F7C238-F1BF-4498-A733-DB399BAE28B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01465450"/>
              </p:ext>
            </p:extLst>
          </p:nvPr>
        </p:nvGraphicFramePr>
        <p:xfrm>
          <a:off x="2032000" y="71966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3249903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039FB8B-E332-4796-9C12-A1DBC83416A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ZA" dirty="0"/>
              <a:t>Methodology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9B41658-65A6-40DB-92C2-3EA63139CE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84829" y="621622"/>
            <a:ext cx="6213389" cy="621338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0969BC8-FE4C-4BA2-AF81-DB191909C386}"/>
              </a:ext>
            </a:extLst>
          </p:cNvPr>
          <p:cNvSpPr txBox="1"/>
          <p:nvPr/>
        </p:nvSpPr>
        <p:spPr>
          <a:xfrm>
            <a:off x="235018" y="840259"/>
            <a:ext cx="3859187" cy="61834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dirty="0"/>
              <a:t>Continuous variables were placed in discrete bins using WOE to decrease bias introduced by skewed distributions.</a:t>
            </a:r>
          </a:p>
          <a:p>
            <a:endParaRPr lang="en-ZA" dirty="0"/>
          </a:p>
          <a:p>
            <a:r>
              <a:rPr lang="en-ZA" dirty="0"/>
              <a:t>All variables were one hot encoded, scaled and centred to accommodate algorithms that use gradient descent.</a:t>
            </a:r>
          </a:p>
          <a:p>
            <a:endParaRPr lang="en-ZA" dirty="0"/>
          </a:p>
          <a:p>
            <a:r>
              <a:rPr lang="en-ZA" dirty="0"/>
              <a:t>80% of the records were randomly selected and used to train models. The remaining 20% were used to test out-of-sample accuracy.</a:t>
            </a:r>
          </a:p>
          <a:p>
            <a:endParaRPr lang="en-ZA" dirty="0"/>
          </a:p>
          <a:p>
            <a:r>
              <a:rPr lang="en-ZA" dirty="0" err="1"/>
              <a:t>CustomerID</a:t>
            </a:r>
            <a:r>
              <a:rPr lang="en-ZA" dirty="0"/>
              <a:t> was removed, as it provided no predictive value.</a:t>
            </a:r>
          </a:p>
          <a:p>
            <a:endParaRPr lang="en-ZA" dirty="0"/>
          </a:p>
          <a:p>
            <a:r>
              <a:rPr lang="en-ZA" dirty="0"/>
              <a:t>All model development was done in </a:t>
            </a:r>
            <a:r>
              <a:rPr lang="en-ZA" dirty="0" err="1"/>
              <a:t>Jupyter</a:t>
            </a:r>
            <a:r>
              <a:rPr lang="en-ZA" dirty="0"/>
              <a:t> notebooks using R version 3.5.1</a:t>
            </a:r>
          </a:p>
          <a:p>
            <a:endParaRPr lang="en-ZA" dirty="0"/>
          </a:p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6388324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6FD63A7-4F02-4E4B-AB22-CACC7BC3AD4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ZA" dirty="0"/>
              <a:t>Results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CA0B0ACF-2AC3-4F66-8FD1-E950C137C7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7076681"/>
              </p:ext>
            </p:extLst>
          </p:nvPr>
        </p:nvGraphicFramePr>
        <p:xfrm>
          <a:off x="235019" y="1833275"/>
          <a:ext cx="11721965" cy="2057589"/>
        </p:xfrm>
        <a:graphic>
          <a:graphicData uri="http://schemas.openxmlformats.org/drawingml/2006/table">
            <a:tbl>
              <a:tblPr>
                <a:tableStyleId>{EB9631B5-78F2-41C9-869B-9F39066F8104}</a:tableStyleId>
              </a:tblPr>
              <a:tblGrid>
                <a:gridCol w="4775613">
                  <a:extLst>
                    <a:ext uri="{9D8B030D-6E8A-4147-A177-3AD203B41FA5}">
                      <a16:colId xmlns:a16="http://schemas.microsoft.com/office/drawing/2014/main" val="2846341756"/>
                    </a:ext>
                  </a:extLst>
                </a:gridCol>
                <a:gridCol w="1736588">
                  <a:extLst>
                    <a:ext uri="{9D8B030D-6E8A-4147-A177-3AD203B41FA5}">
                      <a16:colId xmlns:a16="http://schemas.microsoft.com/office/drawing/2014/main" val="1831864038"/>
                    </a:ext>
                  </a:extLst>
                </a:gridCol>
                <a:gridCol w="1736588">
                  <a:extLst>
                    <a:ext uri="{9D8B030D-6E8A-4147-A177-3AD203B41FA5}">
                      <a16:colId xmlns:a16="http://schemas.microsoft.com/office/drawing/2014/main" val="2072176564"/>
                    </a:ext>
                  </a:extLst>
                </a:gridCol>
                <a:gridCol w="1736588">
                  <a:extLst>
                    <a:ext uri="{9D8B030D-6E8A-4147-A177-3AD203B41FA5}">
                      <a16:colId xmlns:a16="http://schemas.microsoft.com/office/drawing/2014/main" val="2393273822"/>
                    </a:ext>
                  </a:extLst>
                </a:gridCol>
                <a:gridCol w="1736588">
                  <a:extLst>
                    <a:ext uri="{9D8B030D-6E8A-4147-A177-3AD203B41FA5}">
                      <a16:colId xmlns:a16="http://schemas.microsoft.com/office/drawing/2014/main" val="3279710914"/>
                    </a:ext>
                  </a:extLst>
                </a:gridCol>
              </a:tblGrid>
              <a:tr h="641005">
                <a:tc>
                  <a:txBody>
                    <a:bodyPr/>
                    <a:lstStyle/>
                    <a:p>
                      <a:pPr algn="l" fontAlgn="b"/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u="none" strike="noStrike" dirty="0">
                          <a:effectLst/>
                        </a:rPr>
                        <a:t>AUC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u="none" strike="noStrike" dirty="0">
                          <a:effectLst/>
                        </a:rPr>
                        <a:t>Precision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u="none" strike="noStrike" dirty="0">
                          <a:effectLst/>
                        </a:rPr>
                        <a:t>Recall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u="none" strike="noStrike">
                          <a:effectLst/>
                        </a:rPr>
                        <a:t>Parameter tuning</a:t>
                      </a:r>
                      <a:endParaRPr lang="en-ZA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3388862"/>
                  </a:ext>
                </a:extLst>
              </a:tr>
              <a:tr h="354146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u="none" strike="noStrike" dirty="0">
                          <a:effectLst/>
                        </a:rPr>
                        <a:t>Logistic Regression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u="none" strike="noStrike" dirty="0">
                          <a:effectLst/>
                        </a:rPr>
                        <a:t>     0.8409 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u="none" strike="noStrike">
                          <a:effectLst/>
                        </a:rPr>
                        <a:t>0.6693</a:t>
                      </a:r>
                      <a:endParaRPr lang="en-ZA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u="none" strike="noStrike">
                          <a:effectLst/>
                        </a:rPr>
                        <a:t>0.5186</a:t>
                      </a:r>
                      <a:endParaRPr lang="en-ZA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u="none" strike="noStrike" dirty="0">
                          <a:effectLst/>
                        </a:rPr>
                        <a:t>No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2580109"/>
                  </a:ext>
                </a:extLst>
              </a:tr>
              <a:tr h="354146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u="none" strike="noStrike" dirty="0">
                          <a:effectLst/>
                        </a:rPr>
                        <a:t>Extreme Gradient Boosting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u="none" strike="noStrike" dirty="0">
                          <a:effectLst/>
                        </a:rPr>
                        <a:t>     0.8310 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u="none" strike="noStrike" dirty="0">
                          <a:effectLst/>
                        </a:rPr>
                        <a:t>0.642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u="none" strike="noStrike" dirty="0">
                          <a:effectLst/>
                        </a:rPr>
                        <a:t>0.4669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u="none" strike="noStrike" dirty="0">
                          <a:effectLst/>
                        </a:rPr>
                        <a:t>Yes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1128750"/>
                  </a:ext>
                </a:extLst>
              </a:tr>
              <a:tr h="354146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u="none" strike="noStrike" dirty="0">
                          <a:effectLst/>
                        </a:rPr>
                        <a:t>Random Forest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u="none" strike="noStrike" dirty="0">
                          <a:effectLst/>
                        </a:rPr>
                        <a:t>     0.8399 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u="none" strike="noStrike" dirty="0">
                          <a:effectLst/>
                        </a:rPr>
                        <a:t>0.6666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u="none" strike="noStrike" dirty="0">
                          <a:effectLst/>
                        </a:rPr>
                        <a:t>0.5125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u="none" strike="noStrike" dirty="0">
                          <a:effectLst/>
                        </a:rPr>
                        <a:t>Yes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15948512"/>
                  </a:ext>
                </a:extLst>
              </a:tr>
              <a:tr h="354146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1" u="none" strike="noStrike" dirty="0">
                          <a:effectLst/>
                        </a:rPr>
                        <a:t>Multilayer Perceptron</a:t>
                      </a:r>
                      <a:endParaRPr lang="en-ZA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1" u="none" strike="noStrike" dirty="0">
                          <a:effectLst/>
                        </a:rPr>
                        <a:t>     0.8326 </a:t>
                      </a:r>
                      <a:endParaRPr lang="en-ZA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1" u="none" strike="noStrike" dirty="0">
                          <a:effectLst/>
                        </a:rPr>
                        <a:t>0.8322</a:t>
                      </a:r>
                      <a:endParaRPr lang="en-ZA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1" u="none" strike="noStrike" dirty="0">
                          <a:effectLst/>
                        </a:rPr>
                        <a:t>0.8995</a:t>
                      </a:r>
                      <a:endParaRPr lang="en-ZA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1" u="none" strike="noStrike" dirty="0">
                          <a:effectLst/>
                        </a:rPr>
                        <a:t>No</a:t>
                      </a:r>
                      <a:endParaRPr lang="en-ZA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4210055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2AF93FA8-078C-4239-A348-A914EECA8D2C}"/>
              </a:ext>
            </a:extLst>
          </p:cNvPr>
          <p:cNvSpPr txBox="1"/>
          <p:nvPr/>
        </p:nvSpPr>
        <p:spPr>
          <a:xfrm>
            <a:off x="235018" y="1310055"/>
            <a:ext cx="40663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2800" dirty="0"/>
              <a:t>Model performanc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FEBC717-9632-43E8-AE14-14878785D7DA}"/>
              </a:ext>
            </a:extLst>
          </p:cNvPr>
          <p:cNvSpPr txBox="1"/>
          <p:nvPr/>
        </p:nvSpPr>
        <p:spPr>
          <a:xfrm>
            <a:off x="235018" y="4133461"/>
            <a:ext cx="11885447" cy="646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dirty="0"/>
              <a:t>The MLP model was able to distinguish between true positives and true negatives better than the other models. Performance may be improved by hyperparameter tuning.</a:t>
            </a:r>
          </a:p>
        </p:txBody>
      </p:sp>
    </p:spTree>
    <p:extLst>
      <p:ext uri="{BB962C8B-B14F-4D97-AF65-F5344CB8AC3E}">
        <p14:creationId xmlns:p14="http://schemas.microsoft.com/office/powerpoint/2010/main" val="8979823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CC16B08-AB73-4EA6-9B4B-DF6A9A96F0D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ZA" dirty="0"/>
              <a:t>Summary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9EF601A-8C23-4A94-9B40-E2E1A1D958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93934" y="632927"/>
            <a:ext cx="6225073" cy="622507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8E81489-B825-4E6C-B3C1-8CE161FE8830}"/>
              </a:ext>
            </a:extLst>
          </p:cNvPr>
          <p:cNvSpPr txBox="1"/>
          <p:nvPr/>
        </p:nvSpPr>
        <p:spPr>
          <a:xfrm>
            <a:off x="335902" y="839755"/>
            <a:ext cx="4254759" cy="31379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ZA" dirty="0"/>
              <a:t>Model does not seem to be overfit</a:t>
            </a:r>
          </a:p>
          <a:p>
            <a:pPr marL="285750" indent="-285750">
              <a:buFontTx/>
              <a:buChar char="-"/>
            </a:pPr>
            <a:r>
              <a:rPr lang="en-ZA" dirty="0"/>
              <a:t>Parameter tuning may lead to increased model performance</a:t>
            </a:r>
          </a:p>
          <a:p>
            <a:pPr marL="285750" indent="-285750">
              <a:buFontTx/>
              <a:buChar char="-"/>
            </a:pPr>
            <a:r>
              <a:rPr lang="en-ZA" dirty="0"/>
              <a:t>Black box nature of MLP makes it difficult to measure the effect of single variables on the outcome</a:t>
            </a:r>
          </a:p>
          <a:p>
            <a:pPr marL="285750" indent="-285750">
              <a:buFontTx/>
              <a:buChar char="-"/>
            </a:pPr>
            <a:r>
              <a:rPr lang="en-ZA" dirty="0"/>
              <a:t>Model implemented in R with </a:t>
            </a:r>
            <a:r>
              <a:rPr lang="en-ZA" dirty="0" err="1"/>
              <a:t>Keras</a:t>
            </a:r>
            <a:r>
              <a:rPr lang="en-ZA" dirty="0"/>
              <a:t> and </a:t>
            </a:r>
            <a:r>
              <a:rPr lang="en-ZA" dirty="0" err="1"/>
              <a:t>Tensorflow</a:t>
            </a:r>
            <a:endParaRPr lang="en-ZA" dirty="0"/>
          </a:p>
          <a:p>
            <a:pPr marL="285750" indent="-285750">
              <a:buFontTx/>
              <a:buChar char="-"/>
            </a:pPr>
            <a:r>
              <a:rPr lang="en-ZA" dirty="0" err="1"/>
              <a:t>Jupyter</a:t>
            </a:r>
            <a:r>
              <a:rPr lang="en-ZA" dirty="0"/>
              <a:t> notebooks with complete model building steps </a:t>
            </a:r>
            <a:r>
              <a:rPr lang="en-ZA"/>
              <a:t>are available.</a:t>
            </a:r>
            <a:endParaRPr lang="en-ZA" dirty="0"/>
          </a:p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42361377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STV - Templpate.potx" id="{21864C46-947C-47FD-BB67-2375DCC56E7C}" vid="{38DB6149-9E47-44C3-9D39-6000FC2F174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037</TotalTime>
  <Words>316</Words>
  <Application>Microsoft Office PowerPoint</Application>
  <PresentationFormat>Widescreen</PresentationFormat>
  <Paragraphs>77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3" baseType="lpstr">
      <vt:lpstr>Arial</vt:lpstr>
      <vt:lpstr>Calibri</vt:lpstr>
      <vt:lpstr>Calibri Light</vt:lpstr>
      <vt:lpstr>Office Theme</vt:lpstr>
      <vt:lpstr>think-cell Slide</vt:lpstr>
      <vt:lpstr>Case study (Technical)</vt:lpstr>
      <vt:lpstr>Outline</vt:lpstr>
      <vt:lpstr>Objectives</vt:lpstr>
      <vt:lpstr>Data source</vt:lpstr>
      <vt:lpstr>Methodology</vt:lpstr>
      <vt:lpstr>Methodology</vt:lpstr>
      <vt:lpstr>Results</vt:lpstr>
      <vt:lpstr>Summary</vt:lpstr>
    </vt:vector>
  </TitlesOfParts>
  <Company>MultiChoic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II : Presentation Name</dc:title>
  <dc:creator>Debra Petersen</dc:creator>
  <cp:lastModifiedBy>Leon Van Vuuren</cp:lastModifiedBy>
  <cp:revision>180</cp:revision>
  <dcterms:created xsi:type="dcterms:W3CDTF">2016-05-16T05:57:08Z</dcterms:created>
  <dcterms:modified xsi:type="dcterms:W3CDTF">2018-08-18T12:47:13Z</dcterms:modified>
</cp:coreProperties>
</file>